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5004" r:id="rId2"/>
    <p:sldMasterId id="2147485026" r:id="rId3"/>
  </p:sldMasterIdLst>
  <p:notesMasterIdLst>
    <p:notesMasterId r:id="rId44"/>
  </p:notesMasterIdLst>
  <p:handoutMasterIdLst>
    <p:handoutMasterId r:id="rId45"/>
  </p:handoutMasterIdLst>
  <p:sldIdLst>
    <p:sldId id="585" r:id="rId4"/>
    <p:sldId id="556" r:id="rId5"/>
    <p:sldId id="578" r:id="rId6"/>
    <p:sldId id="588" r:id="rId7"/>
    <p:sldId id="577" r:id="rId8"/>
    <p:sldId id="573" r:id="rId9"/>
    <p:sldId id="574" r:id="rId10"/>
    <p:sldId id="575" r:id="rId11"/>
    <p:sldId id="576" r:id="rId12"/>
    <p:sldId id="265" r:id="rId13"/>
    <p:sldId id="526" r:id="rId14"/>
    <p:sldId id="534" r:id="rId15"/>
    <p:sldId id="535" r:id="rId16"/>
    <p:sldId id="539" r:id="rId17"/>
    <p:sldId id="602" r:id="rId18"/>
    <p:sldId id="590" r:id="rId19"/>
    <p:sldId id="591" r:id="rId20"/>
    <p:sldId id="592" r:id="rId21"/>
    <p:sldId id="593" r:id="rId22"/>
    <p:sldId id="594" r:id="rId23"/>
    <p:sldId id="595" r:id="rId24"/>
    <p:sldId id="596" r:id="rId25"/>
    <p:sldId id="597" r:id="rId26"/>
    <p:sldId id="598" r:id="rId27"/>
    <p:sldId id="600" r:id="rId28"/>
    <p:sldId id="601" r:id="rId29"/>
    <p:sldId id="603" r:id="rId30"/>
    <p:sldId id="605" r:id="rId31"/>
    <p:sldId id="606" r:id="rId32"/>
    <p:sldId id="607" r:id="rId33"/>
    <p:sldId id="608" r:id="rId34"/>
    <p:sldId id="609" r:id="rId35"/>
    <p:sldId id="610" r:id="rId36"/>
    <p:sldId id="611" r:id="rId37"/>
    <p:sldId id="612" r:id="rId38"/>
    <p:sldId id="613" r:id="rId39"/>
    <p:sldId id="614" r:id="rId40"/>
    <p:sldId id="615" r:id="rId41"/>
    <p:sldId id="616" r:id="rId42"/>
    <p:sldId id="565" r:id="rId43"/>
  </p:sldIdLst>
  <p:sldSz cx="10148888" cy="7169150"/>
  <p:notesSz cx="6797675" cy="9926638"/>
  <p:custDataLst>
    <p:tags r:id="rId46"/>
  </p:custDataLst>
  <p:defaultTextStyle>
    <a:defPPr>
      <a:defRPr lang="en-US"/>
    </a:defPPr>
    <a:lvl1pPr algn="l" defTabSz="9890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93713" indent="-36513" algn="l" defTabSz="9890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89013" indent="-74613" algn="l" defTabSz="9890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482725" indent="-111125" algn="l" defTabSz="9890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978025" indent="-149225" algn="l" defTabSz="98901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258">
          <p15:clr>
            <a:srgbClr val="A4A3A4"/>
          </p15:clr>
        </p15:guide>
        <p15:guide id="2" orient="horz" pos="898">
          <p15:clr>
            <a:srgbClr val="A4A3A4"/>
          </p15:clr>
        </p15:guide>
        <p15:guide id="3" orient="horz" pos="4234">
          <p15:clr>
            <a:srgbClr val="A4A3A4"/>
          </p15:clr>
        </p15:guide>
        <p15:guide id="4" pos="6245">
          <p15:clr>
            <a:srgbClr val="A4A3A4"/>
          </p15:clr>
        </p15:guide>
        <p15:guide id="5" pos="293">
          <p15:clr>
            <a:srgbClr val="A4A3A4"/>
          </p15:clr>
        </p15:guide>
        <p15:guide id="6" pos="319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tha" initials="b" lastIdx="3" clrIdx="0">
    <p:extLst>
      <p:ext uri="{19B8F6BF-5375-455C-9EA6-DF929625EA0E}">
        <p15:presenceInfo xmlns:p15="http://schemas.microsoft.com/office/powerpoint/2012/main" userId="bartha" providerId="None"/>
      </p:ext>
    </p:extLst>
  </p:cmAuthor>
  <p:cmAuthor id="2" name="KOVÁCS DÁVID RÓBERT" initials="KDR" lastIdx="0" clrIdx="1">
    <p:extLst>
      <p:ext uri="{19B8F6BF-5375-455C-9EA6-DF929625EA0E}">
        <p15:presenceInfo xmlns:p15="http://schemas.microsoft.com/office/powerpoint/2012/main" userId="S-1-5-21-233314928-1361996667-619646970-242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66"/>
    <a:srgbClr val="B3D88C"/>
    <a:srgbClr val="00703C"/>
    <a:srgbClr val="439639"/>
    <a:srgbClr val="EE7008"/>
    <a:srgbClr val="FF972F"/>
    <a:srgbClr val="19852E"/>
    <a:srgbClr val="7DC244"/>
    <a:srgbClr val="FF9966"/>
    <a:srgbClr val="FFA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Közepesen sötét stílus 2 – 4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Közepesen sötét stílus 2 – 2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Közepesen sötét stílus 4 – 3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19" autoAdjust="0"/>
    <p:restoredTop sz="86512" autoAdjust="0"/>
  </p:normalViewPr>
  <p:slideViewPr>
    <p:cSldViewPr snapToGrid="0">
      <p:cViewPr varScale="1">
        <p:scale>
          <a:sx n="72" d="100"/>
          <a:sy n="72" d="100"/>
        </p:scale>
        <p:origin x="1670" y="72"/>
      </p:cViewPr>
      <p:guideLst>
        <p:guide orient="horz" pos="2258"/>
        <p:guide orient="horz" pos="898"/>
        <p:guide orient="horz" pos="4234"/>
        <p:guide pos="6245"/>
        <p:guide pos="293"/>
        <p:guide pos="31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38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6A60B5F-7E38-43C7-B5E4-E99003908C2E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4E1E3967-288F-423E-8AAD-A765A9D5BB6F}">
      <dgm:prSet phldrT="[Szöveg]" custT="1"/>
      <dgm:spPr/>
      <dgm:t>
        <a:bodyPr/>
        <a:lstStyle/>
        <a:p>
          <a:r>
            <a:rPr lang="hu-HU" sz="1800" dirty="0" smtClean="0"/>
            <a:t>Folyószámlahitel</a:t>
          </a:r>
          <a:r>
            <a:rPr lang="hu-HU" sz="1500" dirty="0" smtClean="0"/>
            <a:t> </a:t>
          </a:r>
          <a:endParaRPr lang="hu-HU" sz="1500" dirty="0"/>
        </a:p>
      </dgm:t>
    </dgm:pt>
    <dgm:pt modelId="{86EE4B18-AC30-46F6-8ED5-048F74B9EF51}" type="parTrans" cxnId="{8EB20C3E-3A02-4C64-9C25-A523C5F2ED7B}">
      <dgm:prSet/>
      <dgm:spPr/>
      <dgm:t>
        <a:bodyPr/>
        <a:lstStyle/>
        <a:p>
          <a:endParaRPr lang="hu-HU"/>
        </a:p>
      </dgm:t>
    </dgm:pt>
    <dgm:pt modelId="{00668590-6FF1-493B-BA09-B1E533EFDE96}" type="sibTrans" cxnId="{8EB20C3E-3A02-4C64-9C25-A523C5F2ED7B}">
      <dgm:prSet/>
      <dgm:spPr/>
      <dgm:t>
        <a:bodyPr/>
        <a:lstStyle/>
        <a:p>
          <a:endParaRPr lang="hu-HU"/>
        </a:p>
      </dgm:t>
    </dgm:pt>
    <dgm:pt modelId="{D04CF6BE-A6E2-4D96-ABBD-A47A0B9E4D4E}">
      <dgm:prSet phldrT="[Szöveg]" custT="1"/>
      <dgm:spPr>
        <a:solidFill>
          <a:schemeClr val="accent6"/>
        </a:solidFill>
      </dgm:spPr>
      <dgm:t>
        <a:bodyPr/>
        <a:lstStyle/>
        <a:p>
          <a:r>
            <a:rPr lang="hu-HU" sz="1800" dirty="0" smtClean="0"/>
            <a:t>Beruházási</a:t>
          </a:r>
          <a:endParaRPr lang="hu-HU" sz="1800" dirty="0"/>
        </a:p>
      </dgm:t>
    </dgm:pt>
    <dgm:pt modelId="{5039221B-CAEF-43AC-B6B8-F17357A1EBC0}" type="parTrans" cxnId="{570268EA-26F4-445D-AC44-457123100F91}">
      <dgm:prSet/>
      <dgm:spPr/>
      <dgm:t>
        <a:bodyPr/>
        <a:lstStyle/>
        <a:p>
          <a:endParaRPr lang="hu-HU"/>
        </a:p>
      </dgm:t>
    </dgm:pt>
    <dgm:pt modelId="{2F58411E-54B9-4928-B29E-8CE11221B6FF}" type="sibTrans" cxnId="{570268EA-26F4-445D-AC44-457123100F91}">
      <dgm:prSet/>
      <dgm:spPr/>
      <dgm:t>
        <a:bodyPr/>
        <a:lstStyle/>
        <a:p>
          <a:endParaRPr lang="hu-HU"/>
        </a:p>
      </dgm:t>
    </dgm:pt>
    <dgm:pt modelId="{E9266DF2-55FD-4848-B7C9-E9ABBD909B09}">
      <dgm:prSet phldrT="[Szöveg]" custT="1"/>
      <dgm:spPr>
        <a:solidFill>
          <a:schemeClr val="accent4"/>
        </a:solidFill>
      </dgm:spPr>
      <dgm:t>
        <a:bodyPr/>
        <a:lstStyle/>
        <a:p>
          <a:r>
            <a:rPr lang="hu-HU" sz="1800" dirty="0" smtClean="0"/>
            <a:t>Likviditási</a:t>
          </a:r>
          <a:endParaRPr lang="hu-HU" sz="1800" dirty="0"/>
        </a:p>
      </dgm:t>
    </dgm:pt>
    <dgm:pt modelId="{5E05BC51-D6BC-4E1E-B6BE-85D255D26286}" type="parTrans" cxnId="{48F88FFE-5D70-48EC-B468-05D25331F822}">
      <dgm:prSet/>
      <dgm:spPr/>
      <dgm:t>
        <a:bodyPr/>
        <a:lstStyle/>
        <a:p>
          <a:endParaRPr lang="hu-HU"/>
        </a:p>
      </dgm:t>
    </dgm:pt>
    <dgm:pt modelId="{F6700D7B-4C8B-4FD2-A63E-6003151739AB}" type="sibTrans" cxnId="{48F88FFE-5D70-48EC-B468-05D25331F822}">
      <dgm:prSet/>
      <dgm:spPr/>
      <dgm:t>
        <a:bodyPr/>
        <a:lstStyle/>
        <a:p>
          <a:endParaRPr lang="hu-HU"/>
        </a:p>
      </dgm:t>
    </dgm:pt>
    <dgm:pt modelId="{5A4B958C-AE49-434E-9295-4DD013F8EF17}">
      <dgm:prSet phldrT="[Szöveg]" custT="1"/>
      <dgm:spPr>
        <a:solidFill>
          <a:schemeClr val="accent5"/>
        </a:solidFill>
      </dgm:spPr>
      <dgm:t>
        <a:bodyPr/>
        <a:lstStyle/>
        <a:p>
          <a:r>
            <a:rPr lang="hu-HU" sz="1800" dirty="0" smtClean="0"/>
            <a:t>Munkahely-megtartó</a:t>
          </a:r>
          <a:r>
            <a:rPr lang="hu-HU" sz="1500" dirty="0" smtClean="0"/>
            <a:t> </a:t>
          </a:r>
          <a:endParaRPr lang="hu-HU" sz="1500" dirty="0"/>
        </a:p>
      </dgm:t>
    </dgm:pt>
    <dgm:pt modelId="{D86EBFD5-F9CF-456F-90F9-CFA69D2C9D05}" type="sibTrans" cxnId="{EF591FFB-578E-49D0-BDD3-EA25DAB2CAAC}">
      <dgm:prSet/>
      <dgm:spPr/>
      <dgm:t>
        <a:bodyPr/>
        <a:lstStyle/>
        <a:p>
          <a:endParaRPr lang="hu-HU"/>
        </a:p>
      </dgm:t>
    </dgm:pt>
    <dgm:pt modelId="{B2E4D485-A9F8-44AB-8299-41CE2428297F}" type="parTrans" cxnId="{EF591FFB-578E-49D0-BDD3-EA25DAB2CAAC}">
      <dgm:prSet/>
      <dgm:spPr/>
      <dgm:t>
        <a:bodyPr/>
        <a:lstStyle/>
        <a:p>
          <a:endParaRPr lang="hu-HU"/>
        </a:p>
      </dgm:t>
    </dgm:pt>
    <dgm:pt modelId="{FC906393-F800-43CB-8A2E-6BF473ED9883}" type="pres">
      <dgm:prSet presAssocID="{96A60B5F-7E38-43C7-B5E4-E99003908C2E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2FAD6EF0-1BC0-4E2B-B768-8345AF7AEE43}" type="pres">
      <dgm:prSet presAssocID="{96A60B5F-7E38-43C7-B5E4-E99003908C2E}" presName="diamond" presStyleLbl="bgShp" presStyleIdx="0" presStyleCnt="1"/>
      <dgm:spPr/>
    </dgm:pt>
    <dgm:pt modelId="{60BC8D54-8738-4B06-B97C-E41F734D5778}" type="pres">
      <dgm:prSet presAssocID="{96A60B5F-7E38-43C7-B5E4-E99003908C2E}" presName="quad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CA31454-ABC1-43EA-ADE4-A5F239799400}" type="pres">
      <dgm:prSet presAssocID="{96A60B5F-7E38-43C7-B5E4-E99003908C2E}" presName="quad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09E3D46-0E48-4C69-A9F5-ED384402B5AA}" type="pres">
      <dgm:prSet presAssocID="{96A60B5F-7E38-43C7-B5E4-E99003908C2E}" presName="quad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24048A0-1E79-4395-956E-F9AD801382BF}" type="pres">
      <dgm:prSet presAssocID="{96A60B5F-7E38-43C7-B5E4-E99003908C2E}" presName="quad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8EB20C3E-3A02-4C64-9C25-A523C5F2ED7B}" srcId="{96A60B5F-7E38-43C7-B5E4-E99003908C2E}" destId="{4E1E3967-288F-423E-8AAD-A765A9D5BB6F}" srcOrd="0" destOrd="0" parTransId="{86EE4B18-AC30-46F6-8ED5-048F74B9EF51}" sibTransId="{00668590-6FF1-493B-BA09-B1E533EFDE96}"/>
    <dgm:cxn modelId="{FAA4ED67-ED34-4130-96A8-623CA08BDD2A}" type="presOf" srcId="{5A4B958C-AE49-434E-9295-4DD013F8EF17}" destId="{009E3D46-0E48-4C69-A9F5-ED384402B5AA}" srcOrd="0" destOrd="0" presId="urn:microsoft.com/office/officeart/2005/8/layout/matrix3"/>
    <dgm:cxn modelId="{EF591FFB-578E-49D0-BDD3-EA25DAB2CAAC}" srcId="{96A60B5F-7E38-43C7-B5E4-E99003908C2E}" destId="{5A4B958C-AE49-434E-9295-4DD013F8EF17}" srcOrd="2" destOrd="0" parTransId="{B2E4D485-A9F8-44AB-8299-41CE2428297F}" sibTransId="{D86EBFD5-F9CF-456F-90F9-CFA69D2C9D05}"/>
    <dgm:cxn modelId="{BB89744E-9813-4AF8-9F2B-3C0BF07CE548}" type="presOf" srcId="{4E1E3967-288F-423E-8AAD-A765A9D5BB6F}" destId="{60BC8D54-8738-4B06-B97C-E41F734D5778}" srcOrd="0" destOrd="0" presId="urn:microsoft.com/office/officeart/2005/8/layout/matrix3"/>
    <dgm:cxn modelId="{6E9AE2DC-7B60-4081-BFA4-CB48B891D010}" type="presOf" srcId="{96A60B5F-7E38-43C7-B5E4-E99003908C2E}" destId="{FC906393-F800-43CB-8A2E-6BF473ED9883}" srcOrd="0" destOrd="0" presId="urn:microsoft.com/office/officeart/2005/8/layout/matrix3"/>
    <dgm:cxn modelId="{207F2DF6-D660-43E3-9C2D-63E018C894FF}" type="presOf" srcId="{D04CF6BE-A6E2-4D96-ABBD-A47A0B9E4D4E}" destId="{3CA31454-ABC1-43EA-ADE4-A5F239799400}" srcOrd="0" destOrd="0" presId="urn:microsoft.com/office/officeart/2005/8/layout/matrix3"/>
    <dgm:cxn modelId="{570268EA-26F4-445D-AC44-457123100F91}" srcId="{96A60B5F-7E38-43C7-B5E4-E99003908C2E}" destId="{D04CF6BE-A6E2-4D96-ABBD-A47A0B9E4D4E}" srcOrd="1" destOrd="0" parTransId="{5039221B-CAEF-43AC-B6B8-F17357A1EBC0}" sibTransId="{2F58411E-54B9-4928-B29E-8CE11221B6FF}"/>
    <dgm:cxn modelId="{C0AFC3B4-91D7-4433-A579-97337FB57380}" type="presOf" srcId="{E9266DF2-55FD-4848-B7C9-E9ABBD909B09}" destId="{324048A0-1E79-4395-956E-F9AD801382BF}" srcOrd="0" destOrd="0" presId="urn:microsoft.com/office/officeart/2005/8/layout/matrix3"/>
    <dgm:cxn modelId="{48F88FFE-5D70-48EC-B468-05D25331F822}" srcId="{96A60B5F-7E38-43C7-B5E4-E99003908C2E}" destId="{E9266DF2-55FD-4848-B7C9-E9ABBD909B09}" srcOrd="3" destOrd="0" parTransId="{5E05BC51-D6BC-4E1E-B6BE-85D255D26286}" sibTransId="{F6700D7B-4C8B-4FD2-A63E-6003151739AB}"/>
    <dgm:cxn modelId="{5D8BB86F-768C-47CD-9F13-38A871A07DBB}" type="presParOf" srcId="{FC906393-F800-43CB-8A2E-6BF473ED9883}" destId="{2FAD6EF0-1BC0-4E2B-B768-8345AF7AEE43}" srcOrd="0" destOrd="0" presId="urn:microsoft.com/office/officeart/2005/8/layout/matrix3"/>
    <dgm:cxn modelId="{913F9258-6CF8-4774-A83E-61B671760CBD}" type="presParOf" srcId="{FC906393-F800-43CB-8A2E-6BF473ED9883}" destId="{60BC8D54-8738-4B06-B97C-E41F734D5778}" srcOrd="1" destOrd="0" presId="urn:microsoft.com/office/officeart/2005/8/layout/matrix3"/>
    <dgm:cxn modelId="{C3EB28FC-1390-441C-9121-B241DBB20D2A}" type="presParOf" srcId="{FC906393-F800-43CB-8A2E-6BF473ED9883}" destId="{3CA31454-ABC1-43EA-ADE4-A5F239799400}" srcOrd="2" destOrd="0" presId="urn:microsoft.com/office/officeart/2005/8/layout/matrix3"/>
    <dgm:cxn modelId="{95C00D04-B0D7-47E5-85BD-9DC9FEFF2127}" type="presParOf" srcId="{FC906393-F800-43CB-8A2E-6BF473ED9883}" destId="{009E3D46-0E48-4C69-A9F5-ED384402B5AA}" srcOrd="3" destOrd="0" presId="urn:microsoft.com/office/officeart/2005/8/layout/matrix3"/>
    <dgm:cxn modelId="{793C062F-B938-466C-80A0-7906FEA831B2}" type="presParOf" srcId="{FC906393-F800-43CB-8A2E-6BF473ED9883}" destId="{324048A0-1E79-4395-956E-F9AD801382BF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923402-7F05-4F4B-8CAF-0B8A2C27DA77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227DC8E1-AEE6-4657-9097-A8E11581CBA8}">
      <dgm:prSet phldrT="[Szöveg]" custT="1"/>
      <dgm:spPr/>
      <dgm:t>
        <a:bodyPr/>
        <a:lstStyle/>
        <a:p>
          <a:r>
            <a:rPr lang="hu-HU" sz="1200" dirty="0" smtClean="0"/>
            <a:t>Új ügyfél</a:t>
          </a:r>
          <a:endParaRPr lang="hu-HU" sz="1200" dirty="0"/>
        </a:p>
      </dgm:t>
    </dgm:pt>
    <dgm:pt modelId="{C4903373-210F-4158-86FE-D31A7F31EF55}" type="parTrans" cxnId="{CEBE4DEA-CE81-41AF-BEEC-F0F24D7B4E6F}">
      <dgm:prSet/>
      <dgm:spPr/>
      <dgm:t>
        <a:bodyPr/>
        <a:lstStyle/>
        <a:p>
          <a:endParaRPr lang="hu-HU"/>
        </a:p>
      </dgm:t>
    </dgm:pt>
    <dgm:pt modelId="{36400471-4F0C-4839-A2DE-DF10924D06A3}" type="sibTrans" cxnId="{CEBE4DEA-CE81-41AF-BEEC-F0F24D7B4E6F}">
      <dgm:prSet/>
      <dgm:spPr/>
      <dgm:t>
        <a:bodyPr/>
        <a:lstStyle/>
        <a:p>
          <a:endParaRPr lang="hu-HU"/>
        </a:p>
      </dgm:t>
    </dgm:pt>
    <dgm:pt modelId="{6351A445-DC3E-4293-8BD5-C8C99103A59E}">
      <dgm:prSet phldrT="[Szöveg]" custT="1"/>
      <dgm:spPr/>
      <dgm:t>
        <a:bodyPr/>
        <a:lstStyle/>
        <a:p>
          <a:r>
            <a:rPr lang="hu-HU" sz="1200" dirty="0" smtClean="0"/>
            <a:t>„Régi” ügyfél</a:t>
          </a:r>
          <a:endParaRPr lang="hu-HU" sz="1200" dirty="0"/>
        </a:p>
      </dgm:t>
    </dgm:pt>
    <dgm:pt modelId="{5C3DDB5A-CC09-4D91-A115-A63CDB5E1D7B}" type="parTrans" cxnId="{50E2AF86-ED11-4FFF-BA6A-01285F4D4CD2}">
      <dgm:prSet/>
      <dgm:spPr/>
      <dgm:t>
        <a:bodyPr/>
        <a:lstStyle/>
        <a:p>
          <a:endParaRPr lang="hu-HU"/>
        </a:p>
      </dgm:t>
    </dgm:pt>
    <dgm:pt modelId="{331602AA-5B7C-41A2-8E11-00CD018ED47D}" type="sibTrans" cxnId="{50E2AF86-ED11-4FFF-BA6A-01285F4D4CD2}">
      <dgm:prSet/>
      <dgm:spPr/>
      <dgm:t>
        <a:bodyPr/>
        <a:lstStyle/>
        <a:p>
          <a:endParaRPr lang="hu-HU"/>
        </a:p>
      </dgm:t>
    </dgm:pt>
    <dgm:pt modelId="{22D382DA-9B72-4A5E-A460-0C7F030DDEA4}">
      <dgm:prSet phldrT="[Szöveg]" custT="1"/>
      <dgm:spPr/>
      <dgm:t>
        <a:bodyPr/>
        <a:lstStyle/>
        <a:p>
          <a:r>
            <a:rPr lang="hu-HU" sz="1200" dirty="0" smtClean="0"/>
            <a:t>Van szerződés</a:t>
          </a:r>
          <a:endParaRPr lang="hu-HU" sz="1200" dirty="0"/>
        </a:p>
      </dgm:t>
    </dgm:pt>
    <dgm:pt modelId="{B8657577-9EDB-4F09-9C7B-54A83B11361A}" type="parTrans" cxnId="{2AF18E00-869F-4FDE-8E22-15A693D949EC}">
      <dgm:prSet/>
      <dgm:spPr/>
      <dgm:t>
        <a:bodyPr/>
        <a:lstStyle/>
        <a:p>
          <a:endParaRPr lang="hu-HU"/>
        </a:p>
      </dgm:t>
    </dgm:pt>
    <dgm:pt modelId="{7D2EB4E5-FE77-4A49-8C60-43DAC1247584}" type="sibTrans" cxnId="{2AF18E00-869F-4FDE-8E22-15A693D949EC}">
      <dgm:prSet/>
      <dgm:spPr/>
      <dgm:t>
        <a:bodyPr/>
        <a:lstStyle/>
        <a:p>
          <a:endParaRPr lang="hu-HU"/>
        </a:p>
      </dgm:t>
    </dgm:pt>
    <dgm:pt modelId="{31623840-F3E2-4BE9-81AB-74763BCA952E}">
      <dgm:prSet phldrT="[Szöveg]" custT="1"/>
      <dgm:spPr/>
      <dgm:t>
        <a:bodyPr/>
        <a:lstStyle/>
        <a:p>
          <a:r>
            <a:rPr lang="hu-HU" sz="1200" dirty="0" smtClean="0"/>
            <a:t>Új igénylés </a:t>
          </a:r>
          <a:endParaRPr lang="hu-HU" sz="1200" dirty="0"/>
        </a:p>
      </dgm:t>
    </dgm:pt>
    <dgm:pt modelId="{8AA37693-6C16-46B6-A969-CC861D211A44}" type="parTrans" cxnId="{7268995A-1F6D-46D7-8F86-2268CB7201A0}">
      <dgm:prSet/>
      <dgm:spPr/>
      <dgm:t>
        <a:bodyPr/>
        <a:lstStyle/>
        <a:p>
          <a:endParaRPr lang="hu-HU"/>
        </a:p>
      </dgm:t>
    </dgm:pt>
    <dgm:pt modelId="{6DDA2183-A668-4B79-BC82-352FD33D0E00}" type="sibTrans" cxnId="{7268995A-1F6D-46D7-8F86-2268CB7201A0}">
      <dgm:prSet/>
      <dgm:spPr/>
      <dgm:t>
        <a:bodyPr/>
        <a:lstStyle/>
        <a:p>
          <a:endParaRPr lang="hu-HU"/>
        </a:p>
      </dgm:t>
    </dgm:pt>
    <dgm:pt modelId="{0DA26895-57F3-4C02-ACEB-0050FFA65B65}">
      <dgm:prSet phldrT="[Szöveg]" custT="1"/>
      <dgm:spPr/>
      <dgm:t>
        <a:bodyPr/>
        <a:lstStyle/>
        <a:p>
          <a:r>
            <a:rPr lang="hu-HU" sz="1200" dirty="0" smtClean="0"/>
            <a:t>Keretemelés bankváltással</a:t>
          </a:r>
          <a:endParaRPr lang="hu-HU" sz="1200" dirty="0"/>
        </a:p>
      </dgm:t>
    </dgm:pt>
    <dgm:pt modelId="{A3E1413E-7E02-4920-A825-64B74A0BE969}" type="parTrans" cxnId="{90D4FA82-6E75-4606-AEA8-CC2479FC3E71}">
      <dgm:prSet/>
      <dgm:spPr/>
      <dgm:t>
        <a:bodyPr/>
        <a:lstStyle/>
        <a:p>
          <a:endParaRPr lang="hu-HU"/>
        </a:p>
      </dgm:t>
    </dgm:pt>
    <dgm:pt modelId="{A28F8D94-9EFA-4351-8708-EE8AA49EFBEE}" type="sibTrans" cxnId="{90D4FA82-6E75-4606-AEA8-CC2479FC3E71}">
      <dgm:prSet/>
      <dgm:spPr/>
      <dgm:t>
        <a:bodyPr/>
        <a:lstStyle/>
        <a:p>
          <a:endParaRPr lang="hu-HU"/>
        </a:p>
      </dgm:t>
    </dgm:pt>
    <dgm:pt modelId="{3D388BF8-1AA9-4327-9933-EE698C45BF65}">
      <dgm:prSet phldrT="[Szöveg]" custT="1"/>
      <dgm:spPr/>
      <dgm:t>
        <a:bodyPr/>
        <a:lstStyle/>
        <a:p>
          <a:r>
            <a:rPr lang="hu-HU" sz="1200" dirty="0" smtClean="0"/>
            <a:t>Nincs szerződés</a:t>
          </a:r>
          <a:endParaRPr lang="hu-HU" sz="1200" dirty="0"/>
        </a:p>
      </dgm:t>
    </dgm:pt>
    <dgm:pt modelId="{4ADBA6AC-C23C-4CC9-ADD1-20465AC1EF9A}" type="parTrans" cxnId="{2958ED7F-7621-40E6-BD05-18A8626DFB36}">
      <dgm:prSet/>
      <dgm:spPr/>
      <dgm:t>
        <a:bodyPr/>
        <a:lstStyle/>
        <a:p>
          <a:endParaRPr lang="hu-HU"/>
        </a:p>
      </dgm:t>
    </dgm:pt>
    <dgm:pt modelId="{6A5071D0-AAF6-4160-9CC8-CCEC4777D1A8}" type="sibTrans" cxnId="{2958ED7F-7621-40E6-BD05-18A8626DFB36}">
      <dgm:prSet/>
      <dgm:spPr/>
      <dgm:t>
        <a:bodyPr/>
        <a:lstStyle/>
        <a:p>
          <a:endParaRPr lang="hu-HU"/>
        </a:p>
      </dgm:t>
    </dgm:pt>
    <dgm:pt modelId="{2E62CC40-6220-4051-8868-99EE29DE538B}">
      <dgm:prSet phldrT="[Szöveg]" custT="1"/>
      <dgm:spPr/>
      <dgm:t>
        <a:bodyPr/>
        <a:lstStyle/>
        <a:p>
          <a:r>
            <a:rPr lang="hu-HU" sz="1200" dirty="0" smtClean="0"/>
            <a:t>Ismételt igénylés</a:t>
          </a:r>
          <a:endParaRPr lang="hu-HU" sz="1200" dirty="0"/>
        </a:p>
      </dgm:t>
    </dgm:pt>
    <dgm:pt modelId="{A58BBD73-AA12-4B93-BBF0-B2537FDDCFC4}" type="parTrans" cxnId="{565BC3C2-A5D6-436C-81EE-B8D832196FBB}">
      <dgm:prSet/>
      <dgm:spPr/>
      <dgm:t>
        <a:bodyPr/>
        <a:lstStyle/>
        <a:p>
          <a:endParaRPr lang="hu-HU"/>
        </a:p>
      </dgm:t>
    </dgm:pt>
    <dgm:pt modelId="{A414358E-BC08-4E1F-BF1E-1C5391E7B582}" type="sibTrans" cxnId="{565BC3C2-A5D6-436C-81EE-B8D832196FBB}">
      <dgm:prSet/>
      <dgm:spPr/>
      <dgm:t>
        <a:bodyPr/>
        <a:lstStyle/>
        <a:p>
          <a:endParaRPr lang="hu-HU"/>
        </a:p>
      </dgm:t>
    </dgm:pt>
    <dgm:pt modelId="{12FDFB62-EAE1-4617-883C-633B3FC7DB08}">
      <dgm:prSet phldrT="[Szöveg]" custT="1"/>
      <dgm:spPr/>
      <dgm:t>
        <a:bodyPr/>
        <a:lstStyle/>
        <a:p>
          <a:r>
            <a:rPr lang="hu-HU" sz="1200" dirty="0" smtClean="0"/>
            <a:t>Azonos bank</a:t>
          </a:r>
          <a:endParaRPr lang="hu-HU" sz="1200" dirty="0"/>
        </a:p>
      </dgm:t>
    </dgm:pt>
    <dgm:pt modelId="{2C970873-D7A9-4069-8C98-2BCF50B26ABD}" type="parTrans" cxnId="{5D2571B4-82F5-4A05-A838-DB1DD5643471}">
      <dgm:prSet/>
      <dgm:spPr/>
      <dgm:t>
        <a:bodyPr/>
        <a:lstStyle/>
        <a:p>
          <a:endParaRPr lang="hu-HU"/>
        </a:p>
      </dgm:t>
    </dgm:pt>
    <dgm:pt modelId="{1DD37303-7666-4D5B-BE74-2E247F5A06F9}" type="sibTrans" cxnId="{5D2571B4-82F5-4A05-A838-DB1DD5643471}">
      <dgm:prSet/>
      <dgm:spPr/>
      <dgm:t>
        <a:bodyPr/>
        <a:lstStyle/>
        <a:p>
          <a:endParaRPr lang="hu-HU"/>
        </a:p>
      </dgm:t>
    </dgm:pt>
    <dgm:pt modelId="{D7B34555-7A28-408F-BAEC-C157B1EEAD98}">
      <dgm:prSet phldrT="[Szöveg]" custT="1"/>
      <dgm:spPr/>
      <dgm:t>
        <a:bodyPr/>
        <a:lstStyle/>
        <a:p>
          <a:r>
            <a:rPr lang="hu-HU" sz="1200" dirty="0" smtClean="0"/>
            <a:t>Eltérő bank</a:t>
          </a:r>
          <a:endParaRPr lang="hu-HU" sz="1200" dirty="0"/>
        </a:p>
      </dgm:t>
    </dgm:pt>
    <dgm:pt modelId="{EE297A5F-4E85-481D-AB6B-8B69E57A88D3}" type="parTrans" cxnId="{8C07037D-1D67-4721-89D1-98BF0C474C6E}">
      <dgm:prSet/>
      <dgm:spPr/>
      <dgm:t>
        <a:bodyPr/>
        <a:lstStyle/>
        <a:p>
          <a:endParaRPr lang="hu-HU"/>
        </a:p>
      </dgm:t>
    </dgm:pt>
    <dgm:pt modelId="{A0C0ED26-5235-48DD-944D-EF3AE04379FF}" type="sibTrans" cxnId="{8C07037D-1D67-4721-89D1-98BF0C474C6E}">
      <dgm:prSet/>
      <dgm:spPr/>
      <dgm:t>
        <a:bodyPr/>
        <a:lstStyle/>
        <a:p>
          <a:endParaRPr lang="hu-HU"/>
        </a:p>
      </dgm:t>
    </dgm:pt>
    <dgm:pt modelId="{59E633C8-5DD6-4D22-AF7C-9AE3DF3CDE93}">
      <dgm:prSet phldrT="[Szöveg]" custT="1"/>
      <dgm:spPr/>
      <dgm:t>
        <a:bodyPr/>
        <a:lstStyle/>
        <a:p>
          <a:r>
            <a:rPr lang="hu-HU" sz="1200" dirty="0" smtClean="0"/>
            <a:t>Meghossz./keretcsökkentés bankváltással</a:t>
          </a:r>
          <a:endParaRPr lang="hu-HU" sz="1200" dirty="0"/>
        </a:p>
      </dgm:t>
    </dgm:pt>
    <dgm:pt modelId="{FE7EFAD7-2244-47D4-8864-66408AB86243}" type="parTrans" cxnId="{79A186E8-DF23-4503-9D2F-B193135DB019}">
      <dgm:prSet/>
      <dgm:spPr/>
      <dgm:t>
        <a:bodyPr/>
        <a:lstStyle/>
        <a:p>
          <a:endParaRPr lang="hu-HU"/>
        </a:p>
      </dgm:t>
    </dgm:pt>
    <dgm:pt modelId="{8E8281DE-EF65-4181-AF5C-2E8D664C0B9F}" type="sibTrans" cxnId="{79A186E8-DF23-4503-9D2F-B193135DB019}">
      <dgm:prSet/>
      <dgm:spPr/>
      <dgm:t>
        <a:bodyPr/>
        <a:lstStyle/>
        <a:p>
          <a:endParaRPr lang="hu-HU"/>
        </a:p>
      </dgm:t>
    </dgm:pt>
    <dgm:pt modelId="{5670EF5A-E7C9-4D87-BF40-A802B681F00D}">
      <dgm:prSet phldrT="[Szöveg]" custT="1"/>
      <dgm:spPr/>
      <dgm:t>
        <a:bodyPr/>
        <a:lstStyle/>
        <a:p>
          <a:r>
            <a:rPr lang="hu-HU" sz="1200" dirty="0" err="1" smtClean="0"/>
            <a:t>Futamidő.hossz</a:t>
          </a:r>
          <a:r>
            <a:rPr lang="hu-HU" sz="1200" dirty="0" smtClean="0"/>
            <a:t>./keret csökkentés </a:t>
          </a:r>
          <a:endParaRPr lang="hu-HU" sz="1200" dirty="0"/>
        </a:p>
      </dgm:t>
    </dgm:pt>
    <dgm:pt modelId="{F8E40C41-6279-445A-B0B5-3EFE059E747B}" type="parTrans" cxnId="{D2384F87-A969-48A7-88E9-0C46ED40869E}">
      <dgm:prSet/>
      <dgm:spPr/>
      <dgm:t>
        <a:bodyPr/>
        <a:lstStyle/>
        <a:p>
          <a:endParaRPr lang="hu-HU"/>
        </a:p>
      </dgm:t>
    </dgm:pt>
    <dgm:pt modelId="{6438C721-AAB0-4D44-A5F3-B639ED56DAD7}" type="sibTrans" cxnId="{D2384F87-A969-48A7-88E9-0C46ED40869E}">
      <dgm:prSet/>
      <dgm:spPr/>
      <dgm:t>
        <a:bodyPr/>
        <a:lstStyle/>
        <a:p>
          <a:endParaRPr lang="hu-HU"/>
        </a:p>
      </dgm:t>
    </dgm:pt>
    <dgm:pt modelId="{E168564E-A0C9-4AED-BF30-F42646485A12}">
      <dgm:prSet phldrT="[Szöveg]" custT="1"/>
      <dgm:spPr/>
      <dgm:t>
        <a:bodyPr/>
        <a:lstStyle/>
        <a:p>
          <a:r>
            <a:rPr lang="hu-HU" sz="1200" dirty="0" smtClean="0"/>
            <a:t>Futamidő hossz./keretemelés</a:t>
          </a:r>
          <a:endParaRPr lang="hu-HU" sz="1200" dirty="0"/>
        </a:p>
      </dgm:t>
    </dgm:pt>
    <dgm:pt modelId="{D03792A7-F5DA-4303-8B31-FADEA3B0EC22}" type="parTrans" cxnId="{EFEDB839-0283-42E7-8742-BC10A0418AD2}">
      <dgm:prSet/>
      <dgm:spPr/>
      <dgm:t>
        <a:bodyPr/>
        <a:lstStyle/>
        <a:p>
          <a:endParaRPr lang="hu-HU"/>
        </a:p>
      </dgm:t>
    </dgm:pt>
    <dgm:pt modelId="{3404162A-978D-4499-9AD8-23B618546BC9}" type="sibTrans" cxnId="{EFEDB839-0283-42E7-8742-BC10A0418AD2}">
      <dgm:prSet/>
      <dgm:spPr/>
      <dgm:t>
        <a:bodyPr/>
        <a:lstStyle/>
        <a:p>
          <a:endParaRPr lang="hu-HU"/>
        </a:p>
      </dgm:t>
    </dgm:pt>
    <dgm:pt modelId="{C5C47F57-0A62-4FCF-B874-AB9CA75FFB7D}">
      <dgm:prSet phldrT="[Szöveg]" custT="1"/>
      <dgm:spPr/>
      <dgm:t>
        <a:bodyPr/>
        <a:lstStyle/>
        <a:p>
          <a:r>
            <a:rPr lang="hu-HU" sz="1200" dirty="0" smtClean="0"/>
            <a:t>Felülvizsgálat</a:t>
          </a:r>
          <a:endParaRPr lang="hu-HU" sz="1200" dirty="0"/>
        </a:p>
      </dgm:t>
    </dgm:pt>
    <dgm:pt modelId="{EB761A70-2CDA-4E20-9595-F191C6C6A1DB}" type="parTrans" cxnId="{DE19F79F-D980-4C3D-B290-46B2FADC8106}">
      <dgm:prSet/>
      <dgm:spPr/>
      <dgm:t>
        <a:bodyPr/>
        <a:lstStyle/>
        <a:p>
          <a:endParaRPr lang="hu-HU"/>
        </a:p>
      </dgm:t>
    </dgm:pt>
    <dgm:pt modelId="{5F9861BE-EA5F-4788-B84E-0C24B01BEE77}" type="sibTrans" cxnId="{DE19F79F-D980-4C3D-B290-46B2FADC8106}">
      <dgm:prSet/>
      <dgm:spPr/>
      <dgm:t>
        <a:bodyPr/>
        <a:lstStyle/>
        <a:p>
          <a:endParaRPr lang="hu-HU"/>
        </a:p>
      </dgm:t>
    </dgm:pt>
    <dgm:pt modelId="{5896ED81-3150-4E9F-8575-A49A1E0133F5}" type="pres">
      <dgm:prSet presAssocID="{17923402-7F05-4F4B-8CAF-0B8A2C27DA77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hu-HU"/>
        </a:p>
      </dgm:t>
    </dgm:pt>
    <dgm:pt modelId="{61D5DE55-2FDB-4610-A88D-0D7A78F0BA34}" type="pres">
      <dgm:prSet presAssocID="{227DC8E1-AEE6-4657-9097-A8E11581CBA8}" presName="hierRoot1" presStyleCnt="0"/>
      <dgm:spPr/>
    </dgm:pt>
    <dgm:pt modelId="{120AFBEE-7B8B-4196-BB0B-0E3343127DD0}" type="pres">
      <dgm:prSet presAssocID="{227DC8E1-AEE6-4657-9097-A8E11581CBA8}" presName="composite" presStyleCnt="0"/>
      <dgm:spPr/>
    </dgm:pt>
    <dgm:pt modelId="{0EA1D6A9-E7C7-42EC-80FE-3C74D6C522E4}" type="pres">
      <dgm:prSet presAssocID="{227DC8E1-AEE6-4657-9097-A8E11581CBA8}" presName="background" presStyleLbl="node0" presStyleIdx="0" presStyleCnt="2"/>
      <dgm:spPr/>
    </dgm:pt>
    <dgm:pt modelId="{2DEB38CC-2786-4061-992B-F168EF847EAB}" type="pres">
      <dgm:prSet presAssocID="{227DC8E1-AEE6-4657-9097-A8E11581CBA8}" presName="text" presStyleLbl="fgAcc0" presStyleIdx="0" presStyleCnt="2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15A9B89B-EC3D-418F-B4E1-3A2C2C157710}" type="pres">
      <dgm:prSet presAssocID="{227DC8E1-AEE6-4657-9097-A8E11581CBA8}" presName="hierChild2" presStyleCnt="0"/>
      <dgm:spPr/>
    </dgm:pt>
    <dgm:pt modelId="{0C6FDFDA-E696-413C-9145-D1D568258FCB}" type="pres">
      <dgm:prSet presAssocID="{8AA37693-6C16-46B6-A969-CC861D211A44}" presName="Name10" presStyleLbl="parChTrans1D2" presStyleIdx="0" presStyleCnt="3"/>
      <dgm:spPr/>
      <dgm:t>
        <a:bodyPr/>
        <a:lstStyle/>
        <a:p>
          <a:endParaRPr lang="hu-HU"/>
        </a:p>
      </dgm:t>
    </dgm:pt>
    <dgm:pt modelId="{3F2D8A51-F847-4987-B8CE-16B067F962C6}" type="pres">
      <dgm:prSet presAssocID="{31623840-F3E2-4BE9-81AB-74763BCA952E}" presName="hierRoot2" presStyleCnt="0"/>
      <dgm:spPr/>
    </dgm:pt>
    <dgm:pt modelId="{384AFA54-7F42-4B72-9F77-BF13006564B4}" type="pres">
      <dgm:prSet presAssocID="{31623840-F3E2-4BE9-81AB-74763BCA952E}" presName="composite2" presStyleCnt="0"/>
      <dgm:spPr/>
    </dgm:pt>
    <dgm:pt modelId="{2BC9D844-C529-4422-AD64-683B5F66A63E}" type="pres">
      <dgm:prSet presAssocID="{31623840-F3E2-4BE9-81AB-74763BCA952E}" presName="background2" presStyleLbl="node2" presStyleIdx="0" presStyleCnt="3"/>
      <dgm:spPr/>
    </dgm:pt>
    <dgm:pt modelId="{7D4A3788-F31F-42E7-87C0-880F333453BE}" type="pres">
      <dgm:prSet presAssocID="{31623840-F3E2-4BE9-81AB-74763BCA952E}" presName="text2" presStyleLbl="fgAcc2" presStyleIdx="0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45BF225B-1084-4306-86A1-5E9DD2107F9F}" type="pres">
      <dgm:prSet presAssocID="{31623840-F3E2-4BE9-81AB-74763BCA952E}" presName="hierChild3" presStyleCnt="0"/>
      <dgm:spPr/>
    </dgm:pt>
    <dgm:pt modelId="{1197B5B9-6A66-41B8-9A9D-CAE0C130529F}" type="pres">
      <dgm:prSet presAssocID="{6351A445-DC3E-4293-8BD5-C8C99103A59E}" presName="hierRoot1" presStyleCnt="0"/>
      <dgm:spPr/>
    </dgm:pt>
    <dgm:pt modelId="{178B62A4-826B-4357-97C9-521EBC92FA3F}" type="pres">
      <dgm:prSet presAssocID="{6351A445-DC3E-4293-8BD5-C8C99103A59E}" presName="composite" presStyleCnt="0"/>
      <dgm:spPr/>
    </dgm:pt>
    <dgm:pt modelId="{7B738478-8BF2-4C17-939C-29AD5DDCB6C7}" type="pres">
      <dgm:prSet presAssocID="{6351A445-DC3E-4293-8BD5-C8C99103A59E}" presName="background" presStyleLbl="node0" presStyleIdx="1" presStyleCnt="2"/>
      <dgm:spPr/>
    </dgm:pt>
    <dgm:pt modelId="{29DB2206-D133-4164-BD8D-1A255C96D0FF}" type="pres">
      <dgm:prSet presAssocID="{6351A445-DC3E-4293-8BD5-C8C99103A59E}" presName="text" presStyleLbl="fgAcc0" presStyleIdx="1" presStyleCnt="2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59A63587-112D-4111-A75D-B4101939FBD8}" type="pres">
      <dgm:prSet presAssocID="{6351A445-DC3E-4293-8BD5-C8C99103A59E}" presName="hierChild2" presStyleCnt="0"/>
      <dgm:spPr/>
    </dgm:pt>
    <dgm:pt modelId="{E49E5790-5E2B-4441-A9A8-FD0779AA5AA2}" type="pres">
      <dgm:prSet presAssocID="{4ADBA6AC-C23C-4CC9-ADD1-20465AC1EF9A}" presName="Name10" presStyleLbl="parChTrans1D2" presStyleIdx="1" presStyleCnt="3"/>
      <dgm:spPr/>
      <dgm:t>
        <a:bodyPr/>
        <a:lstStyle/>
        <a:p>
          <a:endParaRPr lang="hu-HU"/>
        </a:p>
      </dgm:t>
    </dgm:pt>
    <dgm:pt modelId="{A9B48CF9-F61A-40E4-8A01-2890ABE9A3BF}" type="pres">
      <dgm:prSet presAssocID="{3D388BF8-1AA9-4327-9933-EE698C45BF65}" presName="hierRoot2" presStyleCnt="0"/>
      <dgm:spPr/>
    </dgm:pt>
    <dgm:pt modelId="{11589747-89E1-41A6-A241-D5A5DDD96EC7}" type="pres">
      <dgm:prSet presAssocID="{3D388BF8-1AA9-4327-9933-EE698C45BF65}" presName="composite2" presStyleCnt="0"/>
      <dgm:spPr/>
    </dgm:pt>
    <dgm:pt modelId="{4C4CB23C-E7C2-4684-AFFE-913F46468657}" type="pres">
      <dgm:prSet presAssocID="{3D388BF8-1AA9-4327-9933-EE698C45BF65}" presName="background2" presStyleLbl="node2" presStyleIdx="1" presStyleCnt="3"/>
      <dgm:spPr/>
    </dgm:pt>
    <dgm:pt modelId="{485BEAEB-3D07-4975-AA04-C739A520B17B}" type="pres">
      <dgm:prSet presAssocID="{3D388BF8-1AA9-4327-9933-EE698C45BF65}" presName="text2" presStyleLbl="fgAcc2" presStyleIdx="1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DF8C8552-B252-418A-B98F-63F281496DCD}" type="pres">
      <dgm:prSet presAssocID="{3D388BF8-1AA9-4327-9933-EE698C45BF65}" presName="hierChild3" presStyleCnt="0"/>
      <dgm:spPr/>
    </dgm:pt>
    <dgm:pt modelId="{1647542A-F89C-43ED-A5FA-0754130421BA}" type="pres">
      <dgm:prSet presAssocID="{A58BBD73-AA12-4B93-BBF0-B2537FDDCFC4}" presName="Name17" presStyleLbl="parChTrans1D3" presStyleIdx="0" presStyleCnt="3"/>
      <dgm:spPr/>
      <dgm:t>
        <a:bodyPr/>
        <a:lstStyle/>
        <a:p>
          <a:endParaRPr lang="hu-HU"/>
        </a:p>
      </dgm:t>
    </dgm:pt>
    <dgm:pt modelId="{92E05CCA-64A3-4838-A644-616693F6AD16}" type="pres">
      <dgm:prSet presAssocID="{2E62CC40-6220-4051-8868-99EE29DE538B}" presName="hierRoot3" presStyleCnt="0"/>
      <dgm:spPr/>
    </dgm:pt>
    <dgm:pt modelId="{4419F0CF-242D-4DD4-A768-2AB3BAFFC245}" type="pres">
      <dgm:prSet presAssocID="{2E62CC40-6220-4051-8868-99EE29DE538B}" presName="composite3" presStyleCnt="0"/>
      <dgm:spPr/>
    </dgm:pt>
    <dgm:pt modelId="{5C92B7E7-8941-424F-A143-5B211F7B124F}" type="pres">
      <dgm:prSet presAssocID="{2E62CC40-6220-4051-8868-99EE29DE538B}" presName="background3" presStyleLbl="node3" presStyleIdx="0" presStyleCnt="3"/>
      <dgm:spPr/>
    </dgm:pt>
    <dgm:pt modelId="{43C8B9DA-D40D-467A-BACD-977087A8F9BC}" type="pres">
      <dgm:prSet presAssocID="{2E62CC40-6220-4051-8868-99EE29DE538B}" presName="text3" presStyleLbl="fgAcc3" presStyleIdx="0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E0394241-49D9-4FA1-9E22-975AEDDF5721}" type="pres">
      <dgm:prSet presAssocID="{2E62CC40-6220-4051-8868-99EE29DE538B}" presName="hierChild4" presStyleCnt="0"/>
      <dgm:spPr/>
    </dgm:pt>
    <dgm:pt modelId="{502C98FC-1030-403C-98D0-5FBCF573BD66}" type="pres">
      <dgm:prSet presAssocID="{B8657577-9EDB-4F09-9C7B-54A83B11361A}" presName="Name10" presStyleLbl="parChTrans1D2" presStyleIdx="2" presStyleCnt="3"/>
      <dgm:spPr/>
      <dgm:t>
        <a:bodyPr/>
        <a:lstStyle/>
        <a:p>
          <a:endParaRPr lang="hu-HU"/>
        </a:p>
      </dgm:t>
    </dgm:pt>
    <dgm:pt modelId="{95643DA7-784B-4702-B4E8-1F69DE672E9F}" type="pres">
      <dgm:prSet presAssocID="{22D382DA-9B72-4A5E-A460-0C7F030DDEA4}" presName="hierRoot2" presStyleCnt="0"/>
      <dgm:spPr/>
    </dgm:pt>
    <dgm:pt modelId="{50FF8872-F5D4-4012-BFCE-CE7DDD4B0ABC}" type="pres">
      <dgm:prSet presAssocID="{22D382DA-9B72-4A5E-A460-0C7F030DDEA4}" presName="composite2" presStyleCnt="0"/>
      <dgm:spPr/>
    </dgm:pt>
    <dgm:pt modelId="{67633F15-4160-4923-9F68-51533D6A0FB5}" type="pres">
      <dgm:prSet presAssocID="{22D382DA-9B72-4A5E-A460-0C7F030DDEA4}" presName="background2" presStyleLbl="node2" presStyleIdx="2" presStyleCnt="3"/>
      <dgm:spPr/>
    </dgm:pt>
    <dgm:pt modelId="{C47996FB-62E8-41FB-AE1D-10D6F740B487}" type="pres">
      <dgm:prSet presAssocID="{22D382DA-9B72-4A5E-A460-0C7F030DDEA4}" presName="text2" presStyleLbl="fgAcc2" presStyleIdx="2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8F7FBE3B-753D-41C1-82CF-7D525BEB74EC}" type="pres">
      <dgm:prSet presAssocID="{22D382DA-9B72-4A5E-A460-0C7F030DDEA4}" presName="hierChild3" presStyleCnt="0"/>
      <dgm:spPr/>
    </dgm:pt>
    <dgm:pt modelId="{5B56644C-8797-4DA6-AC75-7DF910BCF31A}" type="pres">
      <dgm:prSet presAssocID="{2C970873-D7A9-4069-8C98-2BCF50B26ABD}" presName="Name17" presStyleLbl="parChTrans1D3" presStyleIdx="1" presStyleCnt="3"/>
      <dgm:spPr/>
      <dgm:t>
        <a:bodyPr/>
        <a:lstStyle/>
        <a:p>
          <a:endParaRPr lang="hu-HU"/>
        </a:p>
      </dgm:t>
    </dgm:pt>
    <dgm:pt modelId="{B1FADE8D-72AF-4FAA-ABF8-F9744DF5172E}" type="pres">
      <dgm:prSet presAssocID="{12FDFB62-EAE1-4617-883C-633B3FC7DB08}" presName="hierRoot3" presStyleCnt="0"/>
      <dgm:spPr/>
    </dgm:pt>
    <dgm:pt modelId="{9C4ADD12-030E-4D25-BE63-35F10CFB78CD}" type="pres">
      <dgm:prSet presAssocID="{12FDFB62-EAE1-4617-883C-633B3FC7DB08}" presName="composite3" presStyleCnt="0"/>
      <dgm:spPr/>
    </dgm:pt>
    <dgm:pt modelId="{01B0E80D-717F-4191-84DC-6BAC5479E7C4}" type="pres">
      <dgm:prSet presAssocID="{12FDFB62-EAE1-4617-883C-633B3FC7DB08}" presName="background3" presStyleLbl="node3" presStyleIdx="1" presStyleCnt="3"/>
      <dgm:spPr/>
    </dgm:pt>
    <dgm:pt modelId="{CD4EEE3F-6428-4EE4-8F15-5896B3A3059B}" type="pres">
      <dgm:prSet presAssocID="{12FDFB62-EAE1-4617-883C-633B3FC7DB08}" presName="text3" presStyleLbl="fgAcc3" presStyleIdx="1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CBD444C7-E8CC-4E1B-87A0-DDE873612E86}" type="pres">
      <dgm:prSet presAssocID="{12FDFB62-EAE1-4617-883C-633B3FC7DB08}" presName="hierChild4" presStyleCnt="0"/>
      <dgm:spPr/>
    </dgm:pt>
    <dgm:pt modelId="{B173CF71-AB27-42A9-8C8B-94BBB83EB802}" type="pres">
      <dgm:prSet presAssocID="{F8E40C41-6279-445A-B0B5-3EFE059E747B}" presName="Name23" presStyleLbl="parChTrans1D4" presStyleIdx="0" presStyleCnt="5"/>
      <dgm:spPr/>
      <dgm:t>
        <a:bodyPr/>
        <a:lstStyle/>
        <a:p>
          <a:endParaRPr lang="hu-HU"/>
        </a:p>
      </dgm:t>
    </dgm:pt>
    <dgm:pt modelId="{775A292A-996C-4276-9CAE-668CBFD35B39}" type="pres">
      <dgm:prSet presAssocID="{5670EF5A-E7C9-4D87-BF40-A802B681F00D}" presName="hierRoot4" presStyleCnt="0"/>
      <dgm:spPr/>
    </dgm:pt>
    <dgm:pt modelId="{7C5D1CE0-8392-4596-BF46-3A3618AF7037}" type="pres">
      <dgm:prSet presAssocID="{5670EF5A-E7C9-4D87-BF40-A802B681F00D}" presName="composite4" presStyleCnt="0"/>
      <dgm:spPr/>
    </dgm:pt>
    <dgm:pt modelId="{70DFD6AD-7185-4E2B-83A9-8EB76D4FA4A3}" type="pres">
      <dgm:prSet presAssocID="{5670EF5A-E7C9-4D87-BF40-A802B681F00D}" presName="background4" presStyleLbl="node4" presStyleIdx="0" presStyleCnt="5"/>
      <dgm:spPr/>
    </dgm:pt>
    <dgm:pt modelId="{AF350C66-CA32-4498-B725-8A5353965818}" type="pres">
      <dgm:prSet presAssocID="{5670EF5A-E7C9-4D87-BF40-A802B681F00D}" presName="text4" presStyleLbl="fgAcc4" presStyleIdx="0" presStyleCnt="5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841D60A3-DA60-432B-91DA-13D2A7F28E33}" type="pres">
      <dgm:prSet presAssocID="{5670EF5A-E7C9-4D87-BF40-A802B681F00D}" presName="hierChild5" presStyleCnt="0"/>
      <dgm:spPr/>
    </dgm:pt>
    <dgm:pt modelId="{C9336CBA-B110-4A3B-A7D6-42DB6FA47CB2}" type="pres">
      <dgm:prSet presAssocID="{D03792A7-F5DA-4303-8B31-FADEA3B0EC22}" presName="Name23" presStyleLbl="parChTrans1D4" presStyleIdx="1" presStyleCnt="5"/>
      <dgm:spPr/>
      <dgm:t>
        <a:bodyPr/>
        <a:lstStyle/>
        <a:p>
          <a:endParaRPr lang="hu-HU"/>
        </a:p>
      </dgm:t>
    </dgm:pt>
    <dgm:pt modelId="{0C5BB71B-50C7-4925-A3AC-AF688FC85A73}" type="pres">
      <dgm:prSet presAssocID="{E168564E-A0C9-4AED-BF30-F42646485A12}" presName="hierRoot4" presStyleCnt="0"/>
      <dgm:spPr/>
    </dgm:pt>
    <dgm:pt modelId="{6833D7FD-B6D3-4DE2-B3C3-2A0D2A64C28F}" type="pres">
      <dgm:prSet presAssocID="{E168564E-A0C9-4AED-BF30-F42646485A12}" presName="composite4" presStyleCnt="0"/>
      <dgm:spPr/>
    </dgm:pt>
    <dgm:pt modelId="{8A047F80-0194-4EA6-AB5E-409522BA6ADE}" type="pres">
      <dgm:prSet presAssocID="{E168564E-A0C9-4AED-BF30-F42646485A12}" presName="background4" presStyleLbl="node4" presStyleIdx="1" presStyleCnt="5"/>
      <dgm:spPr/>
    </dgm:pt>
    <dgm:pt modelId="{AD6E1AD2-BEAB-4604-8D8E-77EF28AD74B0}" type="pres">
      <dgm:prSet presAssocID="{E168564E-A0C9-4AED-BF30-F42646485A12}" presName="text4" presStyleLbl="fgAcc4" presStyleIdx="1" presStyleCnt="5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EF72181E-E6BE-4AC8-8107-DA53A4485893}" type="pres">
      <dgm:prSet presAssocID="{E168564E-A0C9-4AED-BF30-F42646485A12}" presName="hierChild5" presStyleCnt="0"/>
      <dgm:spPr/>
    </dgm:pt>
    <dgm:pt modelId="{B225F954-C5AF-41A9-B099-47E5A7B4252C}" type="pres">
      <dgm:prSet presAssocID="{EB761A70-2CDA-4E20-9595-F191C6C6A1DB}" presName="Name23" presStyleLbl="parChTrans1D4" presStyleIdx="2" presStyleCnt="5"/>
      <dgm:spPr/>
      <dgm:t>
        <a:bodyPr/>
        <a:lstStyle/>
        <a:p>
          <a:endParaRPr lang="hu-HU"/>
        </a:p>
      </dgm:t>
    </dgm:pt>
    <dgm:pt modelId="{86AB9194-A096-401D-98A1-C1F34C7FCAD3}" type="pres">
      <dgm:prSet presAssocID="{C5C47F57-0A62-4FCF-B874-AB9CA75FFB7D}" presName="hierRoot4" presStyleCnt="0"/>
      <dgm:spPr/>
    </dgm:pt>
    <dgm:pt modelId="{07A999CA-152C-4CF4-AFFF-060154D7A212}" type="pres">
      <dgm:prSet presAssocID="{C5C47F57-0A62-4FCF-B874-AB9CA75FFB7D}" presName="composite4" presStyleCnt="0"/>
      <dgm:spPr/>
    </dgm:pt>
    <dgm:pt modelId="{3EF61CB3-25A0-465F-AD16-520E2E03AF2E}" type="pres">
      <dgm:prSet presAssocID="{C5C47F57-0A62-4FCF-B874-AB9CA75FFB7D}" presName="background4" presStyleLbl="node4" presStyleIdx="2" presStyleCnt="5"/>
      <dgm:spPr/>
    </dgm:pt>
    <dgm:pt modelId="{07A738FF-5705-43BA-885D-8A21413E75A8}" type="pres">
      <dgm:prSet presAssocID="{C5C47F57-0A62-4FCF-B874-AB9CA75FFB7D}" presName="text4" presStyleLbl="fgAcc4" presStyleIdx="2" presStyleCnt="5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ACADC85E-7E1E-45E8-9597-8C2EB9FAB485}" type="pres">
      <dgm:prSet presAssocID="{C5C47F57-0A62-4FCF-B874-AB9CA75FFB7D}" presName="hierChild5" presStyleCnt="0"/>
      <dgm:spPr/>
    </dgm:pt>
    <dgm:pt modelId="{145EBDF0-AA03-4FBC-B4A7-3055A22BDB91}" type="pres">
      <dgm:prSet presAssocID="{EE297A5F-4E85-481D-AB6B-8B69E57A88D3}" presName="Name17" presStyleLbl="parChTrans1D3" presStyleIdx="2" presStyleCnt="3"/>
      <dgm:spPr/>
      <dgm:t>
        <a:bodyPr/>
        <a:lstStyle/>
        <a:p>
          <a:endParaRPr lang="hu-HU"/>
        </a:p>
      </dgm:t>
    </dgm:pt>
    <dgm:pt modelId="{A4D377F2-1A88-4BF2-9A5F-00E51EBFC084}" type="pres">
      <dgm:prSet presAssocID="{D7B34555-7A28-408F-BAEC-C157B1EEAD98}" presName="hierRoot3" presStyleCnt="0"/>
      <dgm:spPr/>
    </dgm:pt>
    <dgm:pt modelId="{0DF35AC1-1EFB-4A67-993C-AD5F2AB5E72A}" type="pres">
      <dgm:prSet presAssocID="{D7B34555-7A28-408F-BAEC-C157B1EEAD98}" presName="composite3" presStyleCnt="0"/>
      <dgm:spPr/>
    </dgm:pt>
    <dgm:pt modelId="{91445D96-DE01-4EB9-AE34-5BF2D7A853C5}" type="pres">
      <dgm:prSet presAssocID="{D7B34555-7A28-408F-BAEC-C157B1EEAD98}" presName="background3" presStyleLbl="node3" presStyleIdx="2" presStyleCnt="3"/>
      <dgm:spPr/>
    </dgm:pt>
    <dgm:pt modelId="{C3831D77-7D47-4C42-8877-956DCB873481}" type="pres">
      <dgm:prSet presAssocID="{D7B34555-7A28-408F-BAEC-C157B1EEAD98}" presName="text3" presStyleLbl="fgAcc3" presStyleIdx="2" presStyleCnt="3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F70BFC94-BCCC-4D91-9D51-725933C663AD}" type="pres">
      <dgm:prSet presAssocID="{D7B34555-7A28-408F-BAEC-C157B1EEAD98}" presName="hierChild4" presStyleCnt="0"/>
      <dgm:spPr/>
    </dgm:pt>
    <dgm:pt modelId="{DC035AD0-F68D-4519-A2FE-F14D059A2B84}" type="pres">
      <dgm:prSet presAssocID="{FE7EFAD7-2244-47D4-8864-66408AB86243}" presName="Name23" presStyleLbl="parChTrans1D4" presStyleIdx="3" presStyleCnt="5"/>
      <dgm:spPr/>
      <dgm:t>
        <a:bodyPr/>
        <a:lstStyle/>
        <a:p>
          <a:endParaRPr lang="hu-HU"/>
        </a:p>
      </dgm:t>
    </dgm:pt>
    <dgm:pt modelId="{E7029007-8AFB-411A-8748-0A8445F23A04}" type="pres">
      <dgm:prSet presAssocID="{59E633C8-5DD6-4D22-AF7C-9AE3DF3CDE93}" presName="hierRoot4" presStyleCnt="0"/>
      <dgm:spPr/>
    </dgm:pt>
    <dgm:pt modelId="{63DA6EB4-CEBC-4AD7-89DC-7EAB3E9DCF0E}" type="pres">
      <dgm:prSet presAssocID="{59E633C8-5DD6-4D22-AF7C-9AE3DF3CDE93}" presName="composite4" presStyleCnt="0"/>
      <dgm:spPr/>
    </dgm:pt>
    <dgm:pt modelId="{B97FD45A-0CA0-4FAF-8A03-509C455ACEEC}" type="pres">
      <dgm:prSet presAssocID="{59E633C8-5DD6-4D22-AF7C-9AE3DF3CDE93}" presName="background4" presStyleLbl="node4" presStyleIdx="3" presStyleCnt="5"/>
      <dgm:spPr/>
    </dgm:pt>
    <dgm:pt modelId="{E79EDC1C-2452-43D9-B88F-AE96B0AF880A}" type="pres">
      <dgm:prSet presAssocID="{59E633C8-5DD6-4D22-AF7C-9AE3DF3CDE93}" presName="text4" presStyleLbl="fgAcc4" presStyleIdx="3" presStyleCnt="5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4268A12C-B1DC-42A8-8CE9-172F87A06461}" type="pres">
      <dgm:prSet presAssocID="{59E633C8-5DD6-4D22-AF7C-9AE3DF3CDE93}" presName="hierChild5" presStyleCnt="0"/>
      <dgm:spPr/>
    </dgm:pt>
    <dgm:pt modelId="{64B06A22-E921-4DF1-970A-80A857440085}" type="pres">
      <dgm:prSet presAssocID="{A3E1413E-7E02-4920-A825-64B74A0BE969}" presName="Name23" presStyleLbl="parChTrans1D4" presStyleIdx="4" presStyleCnt="5"/>
      <dgm:spPr/>
      <dgm:t>
        <a:bodyPr/>
        <a:lstStyle/>
        <a:p>
          <a:endParaRPr lang="hu-HU"/>
        </a:p>
      </dgm:t>
    </dgm:pt>
    <dgm:pt modelId="{787B2551-59A2-42E7-8102-B8B5C33A327D}" type="pres">
      <dgm:prSet presAssocID="{0DA26895-57F3-4C02-ACEB-0050FFA65B65}" presName="hierRoot4" presStyleCnt="0"/>
      <dgm:spPr/>
    </dgm:pt>
    <dgm:pt modelId="{F39AA10F-E2D4-4CB3-BF8E-9D64CBBE486C}" type="pres">
      <dgm:prSet presAssocID="{0DA26895-57F3-4C02-ACEB-0050FFA65B65}" presName="composite4" presStyleCnt="0"/>
      <dgm:spPr/>
    </dgm:pt>
    <dgm:pt modelId="{AA2E9194-5CAA-4141-86FC-C27F4DF3559F}" type="pres">
      <dgm:prSet presAssocID="{0DA26895-57F3-4C02-ACEB-0050FFA65B65}" presName="background4" presStyleLbl="node4" presStyleIdx="4" presStyleCnt="5"/>
      <dgm:spPr/>
    </dgm:pt>
    <dgm:pt modelId="{48CECB97-E2D9-4D94-8B68-A4AD202C2D33}" type="pres">
      <dgm:prSet presAssocID="{0DA26895-57F3-4C02-ACEB-0050FFA65B65}" presName="text4" presStyleLbl="fgAcc4" presStyleIdx="4" presStyleCnt="5">
        <dgm:presLayoutVars>
          <dgm:chPref val="3"/>
        </dgm:presLayoutVars>
      </dgm:prSet>
      <dgm:spPr/>
      <dgm:t>
        <a:bodyPr/>
        <a:lstStyle/>
        <a:p>
          <a:endParaRPr lang="hu-HU"/>
        </a:p>
      </dgm:t>
    </dgm:pt>
    <dgm:pt modelId="{CA13F34D-085A-4614-8A83-93ED3B4C94B1}" type="pres">
      <dgm:prSet presAssocID="{0DA26895-57F3-4C02-ACEB-0050FFA65B65}" presName="hierChild5" presStyleCnt="0"/>
      <dgm:spPr/>
    </dgm:pt>
  </dgm:ptLst>
  <dgm:cxnLst>
    <dgm:cxn modelId="{D5A8EEAD-ABF9-4389-A844-18524B36EE34}" type="presOf" srcId="{0DA26895-57F3-4C02-ACEB-0050FFA65B65}" destId="{48CECB97-E2D9-4D94-8B68-A4AD202C2D33}" srcOrd="0" destOrd="0" presId="urn:microsoft.com/office/officeart/2005/8/layout/hierarchy1"/>
    <dgm:cxn modelId="{CEBE4DEA-CE81-41AF-BEEC-F0F24D7B4E6F}" srcId="{17923402-7F05-4F4B-8CAF-0B8A2C27DA77}" destId="{227DC8E1-AEE6-4657-9097-A8E11581CBA8}" srcOrd="0" destOrd="0" parTransId="{C4903373-210F-4158-86FE-D31A7F31EF55}" sibTransId="{36400471-4F0C-4839-A2DE-DF10924D06A3}"/>
    <dgm:cxn modelId="{79A186E8-DF23-4503-9D2F-B193135DB019}" srcId="{D7B34555-7A28-408F-BAEC-C157B1EEAD98}" destId="{59E633C8-5DD6-4D22-AF7C-9AE3DF3CDE93}" srcOrd="0" destOrd="0" parTransId="{FE7EFAD7-2244-47D4-8864-66408AB86243}" sibTransId="{8E8281DE-EF65-4181-AF5C-2E8D664C0B9F}"/>
    <dgm:cxn modelId="{FEBA66E3-F195-48EB-A328-D946F65B289A}" type="presOf" srcId="{31623840-F3E2-4BE9-81AB-74763BCA952E}" destId="{7D4A3788-F31F-42E7-87C0-880F333453BE}" srcOrd="0" destOrd="0" presId="urn:microsoft.com/office/officeart/2005/8/layout/hierarchy1"/>
    <dgm:cxn modelId="{4754FA46-9A0D-41EC-8D8D-AAFCA539CC07}" type="presOf" srcId="{E168564E-A0C9-4AED-BF30-F42646485A12}" destId="{AD6E1AD2-BEAB-4604-8D8E-77EF28AD74B0}" srcOrd="0" destOrd="0" presId="urn:microsoft.com/office/officeart/2005/8/layout/hierarchy1"/>
    <dgm:cxn modelId="{B0C34DC2-8FF6-4568-AFF4-F92EA4A40322}" type="presOf" srcId="{C5C47F57-0A62-4FCF-B874-AB9CA75FFB7D}" destId="{07A738FF-5705-43BA-885D-8A21413E75A8}" srcOrd="0" destOrd="0" presId="urn:microsoft.com/office/officeart/2005/8/layout/hierarchy1"/>
    <dgm:cxn modelId="{7C0C48E5-2958-4ACB-B992-0F067EB3AD9D}" type="presOf" srcId="{B8657577-9EDB-4F09-9C7B-54A83B11361A}" destId="{502C98FC-1030-403C-98D0-5FBCF573BD66}" srcOrd="0" destOrd="0" presId="urn:microsoft.com/office/officeart/2005/8/layout/hierarchy1"/>
    <dgm:cxn modelId="{CA6ADE51-659C-4FC8-A4AB-E8C15934585A}" type="presOf" srcId="{4ADBA6AC-C23C-4CC9-ADD1-20465AC1EF9A}" destId="{E49E5790-5E2B-4441-A9A8-FD0779AA5AA2}" srcOrd="0" destOrd="0" presId="urn:microsoft.com/office/officeart/2005/8/layout/hierarchy1"/>
    <dgm:cxn modelId="{8324FFCD-79E7-46AF-BDFE-F5054BA8B0FD}" type="presOf" srcId="{EE297A5F-4E85-481D-AB6B-8B69E57A88D3}" destId="{145EBDF0-AA03-4FBC-B4A7-3055A22BDB91}" srcOrd="0" destOrd="0" presId="urn:microsoft.com/office/officeart/2005/8/layout/hierarchy1"/>
    <dgm:cxn modelId="{2AF18E00-869F-4FDE-8E22-15A693D949EC}" srcId="{6351A445-DC3E-4293-8BD5-C8C99103A59E}" destId="{22D382DA-9B72-4A5E-A460-0C7F030DDEA4}" srcOrd="1" destOrd="0" parTransId="{B8657577-9EDB-4F09-9C7B-54A83B11361A}" sibTransId="{7D2EB4E5-FE77-4A49-8C60-43DAC1247584}"/>
    <dgm:cxn modelId="{95147F53-43E3-43F2-8F0B-704DFDD6AF53}" type="presOf" srcId="{3D388BF8-1AA9-4327-9933-EE698C45BF65}" destId="{485BEAEB-3D07-4975-AA04-C739A520B17B}" srcOrd="0" destOrd="0" presId="urn:microsoft.com/office/officeart/2005/8/layout/hierarchy1"/>
    <dgm:cxn modelId="{192FBDF2-BE0A-43E5-AEBA-9D3A7AE74DF7}" type="presOf" srcId="{17923402-7F05-4F4B-8CAF-0B8A2C27DA77}" destId="{5896ED81-3150-4E9F-8575-A49A1E0133F5}" srcOrd="0" destOrd="0" presId="urn:microsoft.com/office/officeart/2005/8/layout/hierarchy1"/>
    <dgm:cxn modelId="{ACB8B331-1B30-4FD3-A693-B2C783DA2490}" type="presOf" srcId="{EB761A70-2CDA-4E20-9595-F191C6C6A1DB}" destId="{B225F954-C5AF-41A9-B099-47E5A7B4252C}" srcOrd="0" destOrd="0" presId="urn:microsoft.com/office/officeart/2005/8/layout/hierarchy1"/>
    <dgm:cxn modelId="{A1328C4F-F83C-43E0-AA16-F3B07A57876D}" type="presOf" srcId="{2C970873-D7A9-4069-8C98-2BCF50B26ABD}" destId="{5B56644C-8797-4DA6-AC75-7DF910BCF31A}" srcOrd="0" destOrd="0" presId="urn:microsoft.com/office/officeart/2005/8/layout/hierarchy1"/>
    <dgm:cxn modelId="{A7EAF736-B287-4ADF-8EA7-6F0CCD1B38D0}" type="presOf" srcId="{22D382DA-9B72-4A5E-A460-0C7F030DDEA4}" destId="{C47996FB-62E8-41FB-AE1D-10D6F740B487}" srcOrd="0" destOrd="0" presId="urn:microsoft.com/office/officeart/2005/8/layout/hierarchy1"/>
    <dgm:cxn modelId="{3337AC27-F76A-4FC5-B70F-9E77DEBC53FE}" type="presOf" srcId="{FE7EFAD7-2244-47D4-8864-66408AB86243}" destId="{DC035AD0-F68D-4519-A2FE-F14D059A2B84}" srcOrd="0" destOrd="0" presId="urn:microsoft.com/office/officeart/2005/8/layout/hierarchy1"/>
    <dgm:cxn modelId="{5D2571B4-82F5-4A05-A838-DB1DD5643471}" srcId="{22D382DA-9B72-4A5E-A460-0C7F030DDEA4}" destId="{12FDFB62-EAE1-4617-883C-633B3FC7DB08}" srcOrd="0" destOrd="0" parTransId="{2C970873-D7A9-4069-8C98-2BCF50B26ABD}" sibTransId="{1DD37303-7666-4D5B-BE74-2E247F5A06F9}"/>
    <dgm:cxn modelId="{4BD4A151-3F59-4E6D-9A12-34F8B5004A31}" type="presOf" srcId="{12FDFB62-EAE1-4617-883C-633B3FC7DB08}" destId="{CD4EEE3F-6428-4EE4-8F15-5896B3A3059B}" srcOrd="0" destOrd="0" presId="urn:microsoft.com/office/officeart/2005/8/layout/hierarchy1"/>
    <dgm:cxn modelId="{33BC0605-C2C3-4A0F-8849-9EC7CA376DA9}" type="presOf" srcId="{D03792A7-F5DA-4303-8B31-FADEA3B0EC22}" destId="{C9336CBA-B110-4A3B-A7D6-42DB6FA47CB2}" srcOrd="0" destOrd="0" presId="urn:microsoft.com/office/officeart/2005/8/layout/hierarchy1"/>
    <dgm:cxn modelId="{D2384F87-A969-48A7-88E9-0C46ED40869E}" srcId="{12FDFB62-EAE1-4617-883C-633B3FC7DB08}" destId="{5670EF5A-E7C9-4D87-BF40-A802B681F00D}" srcOrd="0" destOrd="0" parTransId="{F8E40C41-6279-445A-B0B5-3EFE059E747B}" sibTransId="{6438C721-AAB0-4D44-A5F3-B639ED56DAD7}"/>
    <dgm:cxn modelId="{565BC3C2-A5D6-436C-81EE-B8D832196FBB}" srcId="{3D388BF8-1AA9-4327-9933-EE698C45BF65}" destId="{2E62CC40-6220-4051-8868-99EE29DE538B}" srcOrd="0" destOrd="0" parTransId="{A58BBD73-AA12-4B93-BBF0-B2537FDDCFC4}" sibTransId="{A414358E-BC08-4E1F-BF1E-1C5391E7B582}"/>
    <dgm:cxn modelId="{8C07037D-1D67-4721-89D1-98BF0C474C6E}" srcId="{22D382DA-9B72-4A5E-A460-0C7F030DDEA4}" destId="{D7B34555-7A28-408F-BAEC-C157B1EEAD98}" srcOrd="1" destOrd="0" parTransId="{EE297A5F-4E85-481D-AB6B-8B69E57A88D3}" sibTransId="{A0C0ED26-5235-48DD-944D-EF3AE04379FF}"/>
    <dgm:cxn modelId="{2AC4B90B-A6CB-4622-9750-20614F9174B9}" type="presOf" srcId="{59E633C8-5DD6-4D22-AF7C-9AE3DF3CDE93}" destId="{E79EDC1C-2452-43D9-B88F-AE96B0AF880A}" srcOrd="0" destOrd="0" presId="urn:microsoft.com/office/officeart/2005/8/layout/hierarchy1"/>
    <dgm:cxn modelId="{90D4FA82-6E75-4606-AEA8-CC2479FC3E71}" srcId="{D7B34555-7A28-408F-BAEC-C157B1EEAD98}" destId="{0DA26895-57F3-4C02-ACEB-0050FFA65B65}" srcOrd="1" destOrd="0" parTransId="{A3E1413E-7E02-4920-A825-64B74A0BE969}" sibTransId="{A28F8D94-9EFA-4351-8708-EE8AA49EFBEE}"/>
    <dgm:cxn modelId="{01AD7570-361C-4731-BE69-A66D2D805AF4}" type="presOf" srcId="{227DC8E1-AEE6-4657-9097-A8E11581CBA8}" destId="{2DEB38CC-2786-4061-992B-F168EF847EAB}" srcOrd="0" destOrd="0" presId="urn:microsoft.com/office/officeart/2005/8/layout/hierarchy1"/>
    <dgm:cxn modelId="{2958ED7F-7621-40E6-BD05-18A8626DFB36}" srcId="{6351A445-DC3E-4293-8BD5-C8C99103A59E}" destId="{3D388BF8-1AA9-4327-9933-EE698C45BF65}" srcOrd="0" destOrd="0" parTransId="{4ADBA6AC-C23C-4CC9-ADD1-20465AC1EF9A}" sibTransId="{6A5071D0-AAF6-4160-9CC8-CCEC4777D1A8}"/>
    <dgm:cxn modelId="{50E2AF86-ED11-4FFF-BA6A-01285F4D4CD2}" srcId="{17923402-7F05-4F4B-8CAF-0B8A2C27DA77}" destId="{6351A445-DC3E-4293-8BD5-C8C99103A59E}" srcOrd="1" destOrd="0" parTransId="{5C3DDB5A-CC09-4D91-A115-A63CDB5E1D7B}" sibTransId="{331602AA-5B7C-41A2-8E11-00CD018ED47D}"/>
    <dgm:cxn modelId="{EFEDB839-0283-42E7-8742-BC10A0418AD2}" srcId="{12FDFB62-EAE1-4617-883C-633B3FC7DB08}" destId="{E168564E-A0C9-4AED-BF30-F42646485A12}" srcOrd="1" destOrd="0" parTransId="{D03792A7-F5DA-4303-8B31-FADEA3B0EC22}" sibTransId="{3404162A-978D-4499-9AD8-23B618546BC9}"/>
    <dgm:cxn modelId="{BED52FA8-3089-43A7-860C-0EE1CF28CDF2}" type="presOf" srcId="{8AA37693-6C16-46B6-A969-CC861D211A44}" destId="{0C6FDFDA-E696-413C-9145-D1D568258FCB}" srcOrd="0" destOrd="0" presId="urn:microsoft.com/office/officeart/2005/8/layout/hierarchy1"/>
    <dgm:cxn modelId="{B0484480-900D-44A9-8199-8BA364E983A5}" type="presOf" srcId="{6351A445-DC3E-4293-8BD5-C8C99103A59E}" destId="{29DB2206-D133-4164-BD8D-1A255C96D0FF}" srcOrd="0" destOrd="0" presId="urn:microsoft.com/office/officeart/2005/8/layout/hierarchy1"/>
    <dgm:cxn modelId="{0F864526-CD19-4D6B-B6A7-4EE388A69F3A}" type="presOf" srcId="{2E62CC40-6220-4051-8868-99EE29DE538B}" destId="{43C8B9DA-D40D-467A-BACD-977087A8F9BC}" srcOrd="0" destOrd="0" presId="urn:microsoft.com/office/officeart/2005/8/layout/hierarchy1"/>
    <dgm:cxn modelId="{7ABA740D-42E8-4ED7-A095-6CB5AB5F24D2}" type="presOf" srcId="{D7B34555-7A28-408F-BAEC-C157B1EEAD98}" destId="{C3831D77-7D47-4C42-8877-956DCB873481}" srcOrd="0" destOrd="0" presId="urn:microsoft.com/office/officeart/2005/8/layout/hierarchy1"/>
    <dgm:cxn modelId="{DE19F79F-D980-4C3D-B290-46B2FADC8106}" srcId="{12FDFB62-EAE1-4617-883C-633B3FC7DB08}" destId="{C5C47F57-0A62-4FCF-B874-AB9CA75FFB7D}" srcOrd="2" destOrd="0" parTransId="{EB761A70-2CDA-4E20-9595-F191C6C6A1DB}" sibTransId="{5F9861BE-EA5F-4788-B84E-0C24B01BEE77}"/>
    <dgm:cxn modelId="{91153C25-D0FB-4970-B86C-757FFB4949CF}" type="presOf" srcId="{5670EF5A-E7C9-4D87-BF40-A802B681F00D}" destId="{AF350C66-CA32-4498-B725-8A5353965818}" srcOrd="0" destOrd="0" presId="urn:microsoft.com/office/officeart/2005/8/layout/hierarchy1"/>
    <dgm:cxn modelId="{7268995A-1F6D-46D7-8F86-2268CB7201A0}" srcId="{227DC8E1-AEE6-4657-9097-A8E11581CBA8}" destId="{31623840-F3E2-4BE9-81AB-74763BCA952E}" srcOrd="0" destOrd="0" parTransId="{8AA37693-6C16-46B6-A969-CC861D211A44}" sibTransId="{6DDA2183-A668-4B79-BC82-352FD33D0E00}"/>
    <dgm:cxn modelId="{4047CCAF-9EB2-4B4B-B3BE-11F4C8834092}" type="presOf" srcId="{F8E40C41-6279-445A-B0B5-3EFE059E747B}" destId="{B173CF71-AB27-42A9-8C8B-94BBB83EB802}" srcOrd="0" destOrd="0" presId="urn:microsoft.com/office/officeart/2005/8/layout/hierarchy1"/>
    <dgm:cxn modelId="{C96DEDB5-FB8F-4864-A0CC-9D64D6589AC3}" type="presOf" srcId="{A58BBD73-AA12-4B93-BBF0-B2537FDDCFC4}" destId="{1647542A-F89C-43ED-A5FA-0754130421BA}" srcOrd="0" destOrd="0" presId="urn:microsoft.com/office/officeart/2005/8/layout/hierarchy1"/>
    <dgm:cxn modelId="{3A2ED5F2-1C22-4D81-91F0-B04095D56805}" type="presOf" srcId="{A3E1413E-7E02-4920-A825-64B74A0BE969}" destId="{64B06A22-E921-4DF1-970A-80A857440085}" srcOrd="0" destOrd="0" presId="urn:microsoft.com/office/officeart/2005/8/layout/hierarchy1"/>
    <dgm:cxn modelId="{07F86F58-9651-4650-B642-B496F1AC1674}" type="presParOf" srcId="{5896ED81-3150-4E9F-8575-A49A1E0133F5}" destId="{61D5DE55-2FDB-4610-A88D-0D7A78F0BA34}" srcOrd="0" destOrd="0" presId="urn:microsoft.com/office/officeart/2005/8/layout/hierarchy1"/>
    <dgm:cxn modelId="{B2405D0C-C716-43A6-8C8B-1EEF757B0A66}" type="presParOf" srcId="{61D5DE55-2FDB-4610-A88D-0D7A78F0BA34}" destId="{120AFBEE-7B8B-4196-BB0B-0E3343127DD0}" srcOrd="0" destOrd="0" presId="urn:microsoft.com/office/officeart/2005/8/layout/hierarchy1"/>
    <dgm:cxn modelId="{D806D9DB-40ED-4033-9A54-9B44B84EB844}" type="presParOf" srcId="{120AFBEE-7B8B-4196-BB0B-0E3343127DD0}" destId="{0EA1D6A9-E7C7-42EC-80FE-3C74D6C522E4}" srcOrd="0" destOrd="0" presId="urn:microsoft.com/office/officeart/2005/8/layout/hierarchy1"/>
    <dgm:cxn modelId="{F13CE075-DE48-47E2-962B-4B9B6C3A84C8}" type="presParOf" srcId="{120AFBEE-7B8B-4196-BB0B-0E3343127DD0}" destId="{2DEB38CC-2786-4061-992B-F168EF847EAB}" srcOrd="1" destOrd="0" presId="urn:microsoft.com/office/officeart/2005/8/layout/hierarchy1"/>
    <dgm:cxn modelId="{BEF555E1-9EF6-4B54-975C-07BDD9EB0493}" type="presParOf" srcId="{61D5DE55-2FDB-4610-A88D-0D7A78F0BA34}" destId="{15A9B89B-EC3D-418F-B4E1-3A2C2C157710}" srcOrd="1" destOrd="0" presId="urn:microsoft.com/office/officeart/2005/8/layout/hierarchy1"/>
    <dgm:cxn modelId="{D86A8B43-8282-48B1-8C09-0E11AC99D947}" type="presParOf" srcId="{15A9B89B-EC3D-418F-B4E1-3A2C2C157710}" destId="{0C6FDFDA-E696-413C-9145-D1D568258FCB}" srcOrd="0" destOrd="0" presId="urn:microsoft.com/office/officeart/2005/8/layout/hierarchy1"/>
    <dgm:cxn modelId="{5A8BD7CC-0213-4D8F-BD69-27E4C5D8003A}" type="presParOf" srcId="{15A9B89B-EC3D-418F-B4E1-3A2C2C157710}" destId="{3F2D8A51-F847-4987-B8CE-16B067F962C6}" srcOrd="1" destOrd="0" presId="urn:microsoft.com/office/officeart/2005/8/layout/hierarchy1"/>
    <dgm:cxn modelId="{AF03CC96-6654-44AA-A887-244E5AFDE002}" type="presParOf" srcId="{3F2D8A51-F847-4987-B8CE-16B067F962C6}" destId="{384AFA54-7F42-4B72-9F77-BF13006564B4}" srcOrd="0" destOrd="0" presId="urn:microsoft.com/office/officeart/2005/8/layout/hierarchy1"/>
    <dgm:cxn modelId="{145F8C54-5F6E-44C6-BAFA-FBCEA786F3A9}" type="presParOf" srcId="{384AFA54-7F42-4B72-9F77-BF13006564B4}" destId="{2BC9D844-C529-4422-AD64-683B5F66A63E}" srcOrd="0" destOrd="0" presId="urn:microsoft.com/office/officeart/2005/8/layout/hierarchy1"/>
    <dgm:cxn modelId="{F3CB232F-FB8E-4D17-A729-D34E61C626C9}" type="presParOf" srcId="{384AFA54-7F42-4B72-9F77-BF13006564B4}" destId="{7D4A3788-F31F-42E7-87C0-880F333453BE}" srcOrd="1" destOrd="0" presId="urn:microsoft.com/office/officeart/2005/8/layout/hierarchy1"/>
    <dgm:cxn modelId="{0AD8C3E6-DE08-4EFD-B074-9F8E200CE386}" type="presParOf" srcId="{3F2D8A51-F847-4987-B8CE-16B067F962C6}" destId="{45BF225B-1084-4306-86A1-5E9DD2107F9F}" srcOrd="1" destOrd="0" presId="urn:microsoft.com/office/officeart/2005/8/layout/hierarchy1"/>
    <dgm:cxn modelId="{FFE91AC1-8C7E-427D-9147-030A97ECDA88}" type="presParOf" srcId="{5896ED81-3150-4E9F-8575-A49A1E0133F5}" destId="{1197B5B9-6A66-41B8-9A9D-CAE0C130529F}" srcOrd="1" destOrd="0" presId="urn:microsoft.com/office/officeart/2005/8/layout/hierarchy1"/>
    <dgm:cxn modelId="{35FD8209-C4AC-42B4-99A3-17D842656B50}" type="presParOf" srcId="{1197B5B9-6A66-41B8-9A9D-CAE0C130529F}" destId="{178B62A4-826B-4357-97C9-521EBC92FA3F}" srcOrd="0" destOrd="0" presId="urn:microsoft.com/office/officeart/2005/8/layout/hierarchy1"/>
    <dgm:cxn modelId="{6E7C434B-4AD7-466E-9D1B-51B926AB17BB}" type="presParOf" srcId="{178B62A4-826B-4357-97C9-521EBC92FA3F}" destId="{7B738478-8BF2-4C17-939C-29AD5DDCB6C7}" srcOrd="0" destOrd="0" presId="urn:microsoft.com/office/officeart/2005/8/layout/hierarchy1"/>
    <dgm:cxn modelId="{CC7ACA9C-CDBD-4DB8-90F9-21DF7E4263E9}" type="presParOf" srcId="{178B62A4-826B-4357-97C9-521EBC92FA3F}" destId="{29DB2206-D133-4164-BD8D-1A255C96D0FF}" srcOrd="1" destOrd="0" presId="urn:microsoft.com/office/officeart/2005/8/layout/hierarchy1"/>
    <dgm:cxn modelId="{2ACD9649-9CD5-477A-8EEB-906550693DC3}" type="presParOf" srcId="{1197B5B9-6A66-41B8-9A9D-CAE0C130529F}" destId="{59A63587-112D-4111-A75D-B4101939FBD8}" srcOrd="1" destOrd="0" presId="urn:microsoft.com/office/officeart/2005/8/layout/hierarchy1"/>
    <dgm:cxn modelId="{2C341565-B9C8-490F-BABB-81B4FE7691C6}" type="presParOf" srcId="{59A63587-112D-4111-A75D-B4101939FBD8}" destId="{E49E5790-5E2B-4441-A9A8-FD0779AA5AA2}" srcOrd="0" destOrd="0" presId="urn:microsoft.com/office/officeart/2005/8/layout/hierarchy1"/>
    <dgm:cxn modelId="{B8B86DA2-074C-4A8F-9E07-2A46B44A2716}" type="presParOf" srcId="{59A63587-112D-4111-A75D-B4101939FBD8}" destId="{A9B48CF9-F61A-40E4-8A01-2890ABE9A3BF}" srcOrd="1" destOrd="0" presId="urn:microsoft.com/office/officeart/2005/8/layout/hierarchy1"/>
    <dgm:cxn modelId="{A70D8395-5540-4F4C-8868-FE97D7D5114D}" type="presParOf" srcId="{A9B48CF9-F61A-40E4-8A01-2890ABE9A3BF}" destId="{11589747-89E1-41A6-A241-D5A5DDD96EC7}" srcOrd="0" destOrd="0" presId="urn:microsoft.com/office/officeart/2005/8/layout/hierarchy1"/>
    <dgm:cxn modelId="{E6CC065A-2C0F-452D-B6CF-F2E56847215F}" type="presParOf" srcId="{11589747-89E1-41A6-A241-D5A5DDD96EC7}" destId="{4C4CB23C-E7C2-4684-AFFE-913F46468657}" srcOrd="0" destOrd="0" presId="urn:microsoft.com/office/officeart/2005/8/layout/hierarchy1"/>
    <dgm:cxn modelId="{70B3A810-71E0-4CFF-8E6D-0179620397CF}" type="presParOf" srcId="{11589747-89E1-41A6-A241-D5A5DDD96EC7}" destId="{485BEAEB-3D07-4975-AA04-C739A520B17B}" srcOrd="1" destOrd="0" presId="urn:microsoft.com/office/officeart/2005/8/layout/hierarchy1"/>
    <dgm:cxn modelId="{0BD94A73-D6FF-4467-AB53-7200FF996FA0}" type="presParOf" srcId="{A9B48CF9-F61A-40E4-8A01-2890ABE9A3BF}" destId="{DF8C8552-B252-418A-B98F-63F281496DCD}" srcOrd="1" destOrd="0" presId="urn:microsoft.com/office/officeart/2005/8/layout/hierarchy1"/>
    <dgm:cxn modelId="{76083F68-3273-4FA6-B9F8-0BE3AA8C6FE9}" type="presParOf" srcId="{DF8C8552-B252-418A-B98F-63F281496DCD}" destId="{1647542A-F89C-43ED-A5FA-0754130421BA}" srcOrd="0" destOrd="0" presId="urn:microsoft.com/office/officeart/2005/8/layout/hierarchy1"/>
    <dgm:cxn modelId="{E45D6DFC-4C2E-458F-A030-2B19FD1F5C4F}" type="presParOf" srcId="{DF8C8552-B252-418A-B98F-63F281496DCD}" destId="{92E05CCA-64A3-4838-A644-616693F6AD16}" srcOrd="1" destOrd="0" presId="urn:microsoft.com/office/officeart/2005/8/layout/hierarchy1"/>
    <dgm:cxn modelId="{22AFD1D7-EB53-4444-A059-062C5F58E8D1}" type="presParOf" srcId="{92E05CCA-64A3-4838-A644-616693F6AD16}" destId="{4419F0CF-242D-4DD4-A768-2AB3BAFFC245}" srcOrd="0" destOrd="0" presId="urn:microsoft.com/office/officeart/2005/8/layout/hierarchy1"/>
    <dgm:cxn modelId="{D4C6A7C0-6311-4C95-8ADD-92A31261CD18}" type="presParOf" srcId="{4419F0CF-242D-4DD4-A768-2AB3BAFFC245}" destId="{5C92B7E7-8941-424F-A143-5B211F7B124F}" srcOrd="0" destOrd="0" presId="urn:microsoft.com/office/officeart/2005/8/layout/hierarchy1"/>
    <dgm:cxn modelId="{DE318529-ABA1-4155-A76A-039592E95348}" type="presParOf" srcId="{4419F0CF-242D-4DD4-A768-2AB3BAFFC245}" destId="{43C8B9DA-D40D-467A-BACD-977087A8F9BC}" srcOrd="1" destOrd="0" presId="urn:microsoft.com/office/officeart/2005/8/layout/hierarchy1"/>
    <dgm:cxn modelId="{B27FD313-93A0-4D43-BC4F-52AF77F87A93}" type="presParOf" srcId="{92E05CCA-64A3-4838-A644-616693F6AD16}" destId="{E0394241-49D9-4FA1-9E22-975AEDDF5721}" srcOrd="1" destOrd="0" presId="urn:microsoft.com/office/officeart/2005/8/layout/hierarchy1"/>
    <dgm:cxn modelId="{CCCF0D8C-311D-451E-BD06-465941EFEF14}" type="presParOf" srcId="{59A63587-112D-4111-A75D-B4101939FBD8}" destId="{502C98FC-1030-403C-98D0-5FBCF573BD66}" srcOrd="2" destOrd="0" presId="urn:microsoft.com/office/officeart/2005/8/layout/hierarchy1"/>
    <dgm:cxn modelId="{480B0E2C-03E9-45A3-ABE1-7AC72E1CA51B}" type="presParOf" srcId="{59A63587-112D-4111-A75D-B4101939FBD8}" destId="{95643DA7-784B-4702-B4E8-1F69DE672E9F}" srcOrd="3" destOrd="0" presId="urn:microsoft.com/office/officeart/2005/8/layout/hierarchy1"/>
    <dgm:cxn modelId="{60F6EC2A-F765-4EC3-B2E6-1EC6F0C7C964}" type="presParOf" srcId="{95643DA7-784B-4702-B4E8-1F69DE672E9F}" destId="{50FF8872-F5D4-4012-BFCE-CE7DDD4B0ABC}" srcOrd="0" destOrd="0" presId="urn:microsoft.com/office/officeart/2005/8/layout/hierarchy1"/>
    <dgm:cxn modelId="{EC946FA8-22F5-4C47-9C70-FA0DF76F2E48}" type="presParOf" srcId="{50FF8872-F5D4-4012-BFCE-CE7DDD4B0ABC}" destId="{67633F15-4160-4923-9F68-51533D6A0FB5}" srcOrd="0" destOrd="0" presId="urn:microsoft.com/office/officeart/2005/8/layout/hierarchy1"/>
    <dgm:cxn modelId="{7949BBCF-16C2-4C7B-A246-A907F15CB8D3}" type="presParOf" srcId="{50FF8872-F5D4-4012-BFCE-CE7DDD4B0ABC}" destId="{C47996FB-62E8-41FB-AE1D-10D6F740B487}" srcOrd="1" destOrd="0" presId="urn:microsoft.com/office/officeart/2005/8/layout/hierarchy1"/>
    <dgm:cxn modelId="{C041B5D9-746E-49DB-865B-6B0746C0371D}" type="presParOf" srcId="{95643DA7-784B-4702-B4E8-1F69DE672E9F}" destId="{8F7FBE3B-753D-41C1-82CF-7D525BEB74EC}" srcOrd="1" destOrd="0" presId="urn:microsoft.com/office/officeart/2005/8/layout/hierarchy1"/>
    <dgm:cxn modelId="{3B19AF60-EE95-4F0F-B8C8-3816D2482E76}" type="presParOf" srcId="{8F7FBE3B-753D-41C1-82CF-7D525BEB74EC}" destId="{5B56644C-8797-4DA6-AC75-7DF910BCF31A}" srcOrd="0" destOrd="0" presId="urn:microsoft.com/office/officeart/2005/8/layout/hierarchy1"/>
    <dgm:cxn modelId="{8546F32E-6B39-4D8F-8C41-7CF8611D38D0}" type="presParOf" srcId="{8F7FBE3B-753D-41C1-82CF-7D525BEB74EC}" destId="{B1FADE8D-72AF-4FAA-ABF8-F9744DF5172E}" srcOrd="1" destOrd="0" presId="urn:microsoft.com/office/officeart/2005/8/layout/hierarchy1"/>
    <dgm:cxn modelId="{9CEB1E3B-060D-42B6-91E6-CB8763323FDB}" type="presParOf" srcId="{B1FADE8D-72AF-4FAA-ABF8-F9744DF5172E}" destId="{9C4ADD12-030E-4D25-BE63-35F10CFB78CD}" srcOrd="0" destOrd="0" presId="urn:microsoft.com/office/officeart/2005/8/layout/hierarchy1"/>
    <dgm:cxn modelId="{73DA259A-E44A-48E8-A66A-FE830BA1460C}" type="presParOf" srcId="{9C4ADD12-030E-4D25-BE63-35F10CFB78CD}" destId="{01B0E80D-717F-4191-84DC-6BAC5479E7C4}" srcOrd="0" destOrd="0" presId="urn:microsoft.com/office/officeart/2005/8/layout/hierarchy1"/>
    <dgm:cxn modelId="{D189E9C5-CD8E-4C58-BFFC-3671ED6E8F23}" type="presParOf" srcId="{9C4ADD12-030E-4D25-BE63-35F10CFB78CD}" destId="{CD4EEE3F-6428-4EE4-8F15-5896B3A3059B}" srcOrd="1" destOrd="0" presId="urn:microsoft.com/office/officeart/2005/8/layout/hierarchy1"/>
    <dgm:cxn modelId="{FD3AD17D-6FDD-4109-AA3D-E49D341E762B}" type="presParOf" srcId="{B1FADE8D-72AF-4FAA-ABF8-F9744DF5172E}" destId="{CBD444C7-E8CC-4E1B-87A0-DDE873612E86}" srcOrd="1" destOrd="0" presId="urn:microsoft.com/office/officeart/2005/8/layout/hierarchy1"/>
    <dgm:cxn modelId="{60AD8A31-C511-41F8-AA95-57BEB6644C88}" type="presParOf" srcId="{CBD444C7-E8CC-4E1B-87A0-DDE873612E86}" destId="{B173CF71-AB27-42A9-8C8B-94BBB83EB802}" srcOrd="0" destOrd="0" presId="urn:microsoft.com/office/officeart/2005/8/layout/hierarchy1"/>
    <dgm:cxn modelId="{CAB11688-B3C6-4467-8A10-8AEF9E918192}" type="presParOf" srcId="{CBD444C7-E8CC-4E1B-87A0-DDE873612E86}" destId="{775A292A-996C-4276-9CAE-668CBFD35B39}" srcOrd="1" destOrd="0" presId="urn:microsoft.com/office/officeart/2005/8/layout/hierarchy1"/>
    <dgm:cxn modelId="{7A39F9F8-6498-451F-8609-1D59E2FF4C97}" type="presParOf" srcId="{775A292A-996C-4276-9CAE-668CBFD35B39}" destId="{7C5D1CE0-8392-4596-BF46-3A3618AF7037}" srcOrd="0" destOrd="0" presId="urn:microsoft.com/office/officeart/2005/8/layout/hierarchy1"/>
    <dgm:cxn modelId="{1DF8E62E-C3E5-4A7E-89EF-DDA317C1C562}" type="presParOf" srcId="{7C5D1CE0-8392-4596-BF46-3A3618AF7037}" destId="{70DFD6AD-7185-4E2B-83A9-8EB76D4FA4A3}" srcOrd="0" destOrd="0" presId="urn:microsoft.com/office/officeart/2005/8/layout/hierarchy1"/>
    <dgm:cxn modelId="{0A099B9C-C0BD-4167-9596-D5B74D0B14C6}" type="presParOf" srcId="{7C5D1CE0-8392-4596-BF46-3A3618AF7037}" destId="{AF350C66-CA32-4498-B725-8A5353965818}" srcOrd="1" destOrd="0" presId="urn:microsoft.com/office/officeart/2005/8/layout/hierarchy1"/>
    <dgm:cxn modelId="{3BDDD475-0877-44C4-8BCE-0C120DB707C6}" type="presParOf" srcId="{775A292A-996C-4276-9CAE-668CBFD35B39}" destId="{841D60A3-DA60-432B-91DA-13D2A7F28E33}" srcOrd="1" destOrd="0" presId="urn:microsoft.com/office/officeart/2005/8/layout/hierarchy1"/>
    <dgm:cxn modelId="{59DA8F08-06A0-4B4F-9BA1-89ED97B8BD0B}" type="presParOf" srcId="{CBD444C7-E8CC-4E1B-87A0-DDE873612E86}" destId="{C9336CBA-B110-4A3B-A7D6-42DB6FA47CB2}" srcOrd="2" destOrd="0" presId="urn:microsoft.com/office/officeart/2005/8/layout/hierarchy1"/>
    <dgm:cxn modelId="{5D76BB19-5999-4350-B806-3DE6FC6D051A}" type="presParOf" srcId="{CBD444C7-E8CC-4E1B-87A0-DDE873612E86}" destId="{0C5BB71B-50C7-4925-A3AC-AF688FC85A73}" srcOrd="3" destOrd="0" presId="urn:microsoft.com/office/officeart/2005/8/layout/hierarchy1"/>
    <dgm:cxn modelId="{1270975B-000A-4A74-8A6F-168090E9457A}" type="presParOf" srcId="{0C5BB71B-50C7-4925-A3AC-AF688FC85A73}" destId="{6833D7FD-B6D3-4DE2-B3C3-2A0D2A64C28F}" srcOrd="0" destOrd="0" presId="urn:microsoft.com/office/officeart/2005/8/layout/hierarchy1"/>
    <dgm:cxn modelId="{D62BFFAE-1F3D-41C5-8E5F-BAD03894B342}" type="presParOf" srcId="{6833D7FD-B6D3-4DE2-B3C3-2A0D2A64C28F}" destId="{8A047F80-0194-4EA6-AB5E-409522BA6ADE}" srcOrd="0" destOrd="0" presId="urn:microsoft.com/office/officeart/2005/8/layout/hierarchy1"/>
    <dgm:cxn modelId="{731F4731-1DB3-4B0A-AC49-A33843D3E6CC}" type="presParOf" srcId="{6833D7FD-B6D3-4DE2-B3C3-2A0D2A64C28F}" destId="{AD6E1AD2-BEAB-4604-8D8E-77EF28AD74B0}" srcOrd="1" destOrd="0" presId="urn:microsoft.com/office/officeart/2005/8/layout/hierarchy1"/>
    <dgm:cxn modelId="{9E42E4B1-DFC6-4AB2-B1EB-7B08F90135F4}" type="presParOf" srcId="{0C5BB71B-50C7-4925-A3AC-AF688FC85A73}" destId="{EF72181E-E6BE-4AC8-8107-DA53A4485893}" srcOrd="1" destOrd="0" presId="urn:microsoft.com/office/officeart/2005/8/layout/hierarchy1"/>
    <dgm:cxn modelId="{02811B8F-3849-407B-BD42-1295023112E8}" type="presParOf" srcId="{CBD444C7-E8CC-4E1B-87A0-DDE873612E86}" destId="{B225F954-C5AF-41A9-B099-47E5A7B4252C}" srcOrd="4" destOrd="0" presId="urn:microsoft.com/office/officeart/2005/8/layout/hierarchy1"/>
    <dgm:cxn modelId="{3342A407-5DCD-4604-A7B5-824CC010D861}" type="presParOf" srcId="{CBD444C7-E8CC-4E1B-87A0-DDE873612E86}" destId="{86AB9194-A096-401D-98A1-C1F34C7FCAD3}" srcOrd="5" destOrd="0" presId="urn:microsoft.com/office/officeart/2005/8/layout/hierarchy1"/>
    <dgm:cxn modelId="{7D818285-A443-4AFD-B05A-E0A1BE2DD527}" type="presParOf" srcId="{86AB9194-A096-401D-98A1-C1F34C7FCAD3}" destId="{07A999CA-152C-4CF4-AFFF-060154D7A212}" srcOrd="0" destOrd="0" presId="urn:microsoft.com/office/officeart/2005/8/layout/hierarchy1"/>
    <dgm:cxn modelId="{85EBAD80-B7D4-427D-B586-EA2565337B3D}" type="presParOf" srcId="{07A999CA-152C-4CF4-AFFF-060154D7A212}" destId="{3EF61CB3-25A0-465F-AD16-520E2E03AF2E}" srcOrd="0" destOrd="0" presId="urn:microsoft.com/office/officeart/2005/8/layout/hierarchy1"/>
    <dgm:cxn modelId="{6F2E71E7-8D0F-4B75-8003-9F8DAAE82477}" type="presParOf" srcId="{07A999CA-152C-4CF4-AFFF-060154D7A212}" destId="{07A738FF-5705-43BA-885D-8A21413E75A8}" srcOrd="1" destOrd="0" presId="urn:microsoft.com/office/officeart/2005/8/layout/hierarchy1"/>
    <dgm:cxn modelId="{749252A4-7D4E-4FF2-A63D-F1681FE2AD3E}" type="presParOf" srcId="{86AB9194-A096-401D-98A1-C1F34C7FCAD3}" destId="{ACADC85E-7E1E-45E8-9597-8C2EB9FAB485}" srcOrd="1" destOrd="0" presId="urn:microsoft.com/office/officeart/2005/8/layout/hierarchy1"/>
    <dgm:cxn modelId="{85FB06E6-B104-430A-ADA5-0518223F4E74}" type="presParOf" srcId="{8F7FBE3B-753D-41C1-82CF-7D525BEB74EC}" destId="{145EBDF0-AA03-4FBC-B4A7-3055A22BDB91}" srcOrd="2" destOrd="0" presId="urn:microsoft.com/office/officeart/2005/8/layout/hierarchy1"/>
    <dgm:cxn modelId="{E8E2A47A-721F-4171-904F-1F0DE935A40A}" type="presParOf" srcId="{8F7FBE3B-753D-41C1-82CF-7D525BEB74EC}" destId="{A4D377F2-1A88-4BF2-9A5F-00E51EBFC084}" srcOrd="3" destOrd="0" presId="urn:microsoft.com/office/officeart/2005/8/layout/hierarchy1"/>
    <dgm:cxn modelId="{FD0768FA-A80B-46B7-9FF1-5C69720371A7}" type="presParOf" srcId="{A4D377F2-1A88-4BF2-9A5F-00E51EBFC084}" destId="{0DF35AC1-1EFB-4A67-993C-AD5F2AB5E72A}" srcOrd="0" destOrd="0" presId="urn:microsoft.com/office/officeart/2005/8/layout/hierarchy1"/>
    <dgm:cxn modelId="{D9EE8F23-710A-4209-825B-4D85EE4F3D76}" type="presParOf" srcId="{0DF35AC1-1EFB-4A67-993C-AD5F2AB5E72A}" destId="{91445D96-DE01-4EB9-AE34-5BF2D7A853C5}" srcOrd="0" destOrd="0" presId="urn:microsoft.com/office/officeart/2005/8/layout/hierarchy1"/>
    <dgm:cxn modelId="{854605AE-448E-4300-B1BB-A653B3BAC9DF}" type="presParOf" srcId="{0DF35AC1-1EFB-4A67-993C-AD5F2AB5E72A}" destId="{C3831D77-7D47-4C42-8877-956DCB873481}" srcOrd="1" destOrd="0" presId="urn:microsoft.com/office/officeart/2005/8/layout/hierarchy1"/>
    <dgm:cxn modelId="{165E5AE3-B744-4C82-B0F3-9F78B4BBF673}" type="presParOf" srcId="{A4D377F2-1A88-4BF2-9A5F-00E51EBFC084}" destId="{F70BFC94-BCCC-4D91-9D51-725933C663AD}" srcOrd="1" destOrd="0" presId="urn:microsoft.com/office/officeart/2005/8/layout/hierarchy1"/>
    <dgm:cxn modelId="{899742CE-D7CA-41A5-A40E-7530899D7B05}" type="presParOf" srcId="{F70BFC94-BCCC-4D91-9D51-725933C663AD}" destId="{DC035AD0-F68D-4519-A2FE-F14D059A2B84}" srcOrd="0" destOrd="0" presId="urn:microsoft.com/office/officeart/2005/8/layout/hierarchy1"/>
    <dgm:cxn modelId="{1C087113-8C90-4017-B414-C1B451615C5A}" type="presParOf" srcId="{F70BFC94-BCCC-4D91-9D51-725933C663AD}" destId="{E7029007-8AFB-411A-8748-0A8445F23A04}" srcOrd="1" destOrd="0" presId="urn:microsoft.com/office/officeart/2005/8/layout/hierarchy1"/>
    <dgm:cxn modelId="{8E484ECE-DD82-4145-B1C9-D0EF1DA1D917}" type="presParOf" srcId="{E7029007-8AFB-411A-8748-0A8445F23A04}" destId="{63DA6EB4-CEBC-4AD7-89DC-7EAB3E9DCF0E}" srcOrd="0" destOrd="0" presId="urn:microsoft.com/office/officeart/2005/8/layout/hierarchy1"/>
    <dgm:cxn modelId="{04635548-D815-4ABC-81F0-5AD7A292A65F}" type="presParOf" srcId="{63DA6EB4-CEBC-4AD7-89DC-7EAB3E9DCF0E}" destId="{B97FD45A-0CA0-4FAF-8A03-509C455ACEEC}" srcOrd="0" destOrd="0" presId="urn:microsoft.com/office/officeart/2005/8/layout/hierarchy1"/>
    <dgm:cxn modelId="{B16FDBB7-AFD7-4FB8-9F82-7F32221334C0}" type="presParOf" srcId="{63DA6EB4-CEBC-4AD7-89DC-7EAB3E9DCF0E}" destId="{E79EDC1C-2452-43D9-B88F-AE96B0AF880A}" srcOrd="1" destOrd="0" presId="urn:microsoft.com/office/officeart/2005/8/layout/hierarchy1"/>
    <dgm:cxn modelId="{5383D950-AE0F-4E96-905D-4435819F5C32}" type="presParOf" srcId="{E7029007-8AFB-411A-8748-0A8445F23A04}" destId="{4268A12C-B1DC-42A8-8CE9-172F87A06461}" srcOrd="1" destOrd="0" presId="urn:microsoft.com/office/officeart/2005/8/layout/hierarchy1"/>
    <dgm:cxn modelId="{7E85A6C1-146C-43B9-ADA5-9B3D7655802F}" type="presParOf" srcId="{F70BFC94-BCCC-4D91-9D51-725933C663AD}" destId="{64B06A22-E921-4DF1-970A-80A857440085}" srcOrd="2" destOrd="0" presId="urn:microsoft.com/office/officeart/2005/8/layout/hierarchy1"/>
    <dgm:cxn modelId="{1CAC193A-79D9-4089-88F2-A77659E29470}" type="presParOf" srcId="{F70BFC94-BCCC-4D91-9D51-725933C663AD}" destId="{787B2551-59A2-42E7-8102-B8B5C33A327D}" srcOrd="3" destOrd="0" presId="urn:microsoft.com/office/officeart/2005/8/layout/hierarchy1"/>
    <dgm:cxn modelId="{BCD0F6EB-DCAE-4C78-8FF8-8B3730043BB0}" type="presParOf" srcId="{787B2551-59A2-42E7-8102-B8B5C33A327D}" destId="{F39AA10F-E2D4-4CB3-BF8E-9D64CBBE486C}" srcOrd="0" destOrd="0" presId="urn:microsoft.com/office/officeart/2005/8/layout/hierarchy1"/>
    <dgm:cxn modelId="{B24DB87F-2534-4080-BEC6-43F050061190}" type="presParOf" srcId="{F39AA10F-E2D4-4CB3-BF8E-9D64CBBE486C}" destId="{AA2E9194-5CAA-4141-86FC-C27F4DF3559F}" srcOrd="0" destOrd="0" presId="urn:microsoft.com/office/officeart/2005/8/layout/hierarchy1"/>
    <dgm:cxn modelId="{CA6F5ADF-AFEB-46C9-925E-61AC16CB4F0C}" type="presParOf" srcId="{F39AA10F-E2D4-4CB3-BF8E-9D64CBBE486C}" destId="{48CECB97-E2D9-4D94-8B68-A4AD202C2D33}" srcOrd="1" destOrd="0" presId="urn:microsoft.com/office/officeart/2005/8/layout/hierarchy1"/>
    <dgm:cxn modelId="{56E4907F-9EC8-41FC-B892-2DC58FA3C3DB}" type="presParOf" srcId="{787B2551-59A2-42E7-8102-B8B5C33A327D}" destId="{CA13F34D-085A-4614-8A83-93ED3B4C94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AD6EF0-1BC0-4E2B-B768-8345AF7AEE43}">
      <dsp:nvSpPr>
        <dsp:cNvPr id="0" name=""/>
        <dsp:cNvSpPr/>
      </dsp:nvSpPr>
      <dsp:spPr>
        <a:xfrm>
          <a:off x="1902675" y="0"/>
          <a:ext cx="4091512" cy="4091512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BC8D54-8738-4B06-B97C-E41F734D5778}">
      <dsp:nvSpPr>
        <dsp:cNvPr id="0" name=""/>
        <dsp:cNvSpPr/>
      </dsp:nvSpPr>
      <dsp:spPr>
        <a:xfrm>
          <a:off x="2291369" y="388693"/>
          <a:ext cx="1595689" cy="159568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Folyószámlahitel</a:t>
          </a:r>
          <a:r>
            <a:rPr lang="hu-HU" sz="1500" kern="1200" dirty="0" smtClean="0"/>
            <a:t> </a:t>
          </a:r>
          <a:endParaRPr lang="hu-HU" sz="1500" kern="1200" dirty="0"/>
        </a:p>
      </dsp:txBody>
      <dsp:txXfrm>
        <a:off x="2369264" y="466588"/>
        <a:ext cx="1439899" cy="1439899"/>
      </dsp:txXfrm>
    </dsp:sp>
    <dsp:sp modelId="{3CA31454-ABC1-43EA-ADE4-A5F239799400}">
      <dsp:nvSpPr>
        <dsp:cNvPr id="0" name=""/>
        <dsp:cNvSpPr/>
      </dsp:nvSpPr>
      <dsp:spPr>
        <a:xfrm>
          <a:off x="4009804" y="388693"/>
          <a:ext cx="1595689" cy="1595689"/>
        </a:xfrm>
        <a:prstGeom prst="round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Beruházási</a:t>
          </a:r>
          <a:endParaRPr lang="hu-HU" sz="1800" kern="1200" dirty="0"/>
        </a:p>
      </dsp:txBody>
      <dsp:txXfrm>
        <a:off x="4087699" y="466588"/>
        <a:ext cx="1439899" cy="1439899"/>
      </dsp:txXfrm>
    </dsp:sp>
    <dsp:sp modelId="{009E3D46-0E48-4C69-A9F5-ED384402B5AA}">
      <dsp:nvSpPr>
        <dsp:cNvPr id="0" name=""/>
        <dsp:cNvSpPr/>
      </dsp:nvSpPr>
      <dsp:spPr>
        <a:xfrm>
          <a:off x="2291369" y="2107128"/>
          <a:ext cx="1595689" cy="1595689"/>
        </a:xfrm>
        <a:prstGeom prst="roundRect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Munkahely-megtartó</a:t>
          </a:r>
          <a:r>
            <a:rPr lang="hu-HU" sz="1500" kern="1200" dirty="0" smtClean="0"/>
            <a:t> </a:t>
          </a:r>
          <a:endParaRPr lang="hu-HU" sz="1500" kern="1200" dirty="0"/>
        </a:p>
      </dsp:txBody>
      <dsp:txXfrm>
        <a:off x="2369264" y="2185023"/>
        <a:ext cx="1439899" cy="1439899"/>
      </dsp:txXfrm>
    </dsp:sp>
    <dsp:sp modelId="{324048A0-1E79-4395-956E-F9AD801382BF}">
      <dsp:nvSpPr>
        <dsp:cNvPr id="0" name=""/>
        <dsp:cNvSpPr/>
      </dsp:nvSpPr>
      <dsp:spPr>
        <a:xfrm>
          <a:off x="4009804" y="2107128"/>
          <a:ext cx="1595689" cy="1595689"/>
        </a:xfrm>
        <a:prstGeom prst="roundRect">
          <a:avLst/>
        </a:prstGeom>
        <a:solidFill>
          <a:schemeClr val="accent4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800" kern="1200" dirty="0" smtClean="0"/>
            <a:t>Likviditási</a:t>
          </a:r>
          <a:endParaRPr lang="hu-HU" sz="1800" kern="1200" dirty="0"/>
        </a:p>
      </dsp:txBody>
      <dsp:txXfrm>
        <a:off x="4087699" y="2185023"/>
        <a:ext cx="1439899" cy="143989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B06A22-E921-4DF1-970A-80A857440085}">
      <dsp:nvSpPr>
        <dsp:cNvPr id="0" name=""/>
        <dsp:cNvSpPr/>
      </dsp:nvSpPr>
      <dsp:spPr>
        <a:xfrm>
          <a:off x="8088871" y="3752925"/>
          <a:ext cx="823745" cy="3920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155"/>
              </a:lnTo>
              <a:lnTo>
                <a:pt x="823745" y="267155"/>
              </a:lnTo>
              <a:lnTo>
                <a:pt x="823745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035AD0-F68D-4519-A2FE-F14D059A2B84}">
      <dsp:nvSpPr>
        <dsp:cNvPr id="0" name=""/>
        <dsp:cNvSpPr/>
      </dsp:nvSpPr>
      <dsp:spPr>
        <a:xfrm>
          <a:off x="7265125" y="3752925"/>
          <a:ext cx="823745" cy="392027"/>
        </a:xfrm>
        <a:custGeom>
          <a:avLst/>
          <a:gdLst/>
          <a:ahLst/>
          <a:cxnLst/>
          <a:rect l="0" t="0" r="0" b="0"/>
          <a:pathLst>
            <a:path>
              <a:moveTo>
                <a:pt x="823745" y="0"/>
              </a:moveTo>
              <a:lnTo>
                <a:pt x="823745" y="267155"/>
              </a:lnTo>
              <a:lnTo>
                <a:pt x="0" y="267155"/>
              </a:lnTo>
              <a:lnTo>
                <a:pt x="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5EBDF0-AA03-4FBC-B4A7-3055A22BDB91}">
      <dsp:nvSpPr>
        <dsp:cNvPr id="0" name=""/>
        <dsp:cNvSpPr/>
      </dsp:nvSpPr>
      <dsp:spPr>
        <a:xfrm>
          <a:off x="6029507" y="2504951"/>
          <a:ext cx="2059363" cy="3920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155"/>
              </a:lnTo>
              <a:lnTo>
                <a:pt x="2059363" y="267155"/>
              </a:lnTo>
              <a:lnTo>
                <a:pt x="2059363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25F954-C5AF-41A9-B099-47E5A7B4252C}">
      <dsp:nvSpPr>
        <dsp:cNvPr id="0" name=""/>
        <dsp:cNvSpPr/>
      </dsp:nvSpPr>
      <dsp:spPr>
        <a:xfrm>
          <a:off x="3970144" y="3752925"/>
          <a:ext cx="1647490" cy="3920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155"/>
              </a:lnTo>
              <a:lnTo>
                <a:pt x="1647490" y="267155"/>
              </a:lnTo>
              <a:lnTo>
                <a:pt x="164749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9336CBA-B110-4A3B-A7D6-42DB6FA47CB2}">
      <dsp:nvSpPr>
        <dsp:cNvPr id="0" name=""/>
        <dsp:cNvSpPr/>
      </dsp:nvSpPr>
      <dsp:spPr>
        <a:xfrm>
          <a:off x="3924424" y="3752925"/>
          <a:ext cx="91440" cy="3920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73CF71-AB27-42A9-8C8B-94BBB83EB802}">
      <dsp:nvSpPr>
        <dsp:cNvPr id="0" name=""/>
        <dsp:cNvSpPr/>
      </dsp:nvSpPr>
      <dsp:spPr>
        <a:xfrm>
          <a:off x="2322653" y="3752925"/>
          <a:ext cx="1647490" cy="392027"/>
        </a:xfrm>
        <a:custGeom>
          <a:avLst/>
          <a:gdLst/>
          <a:ahLst/>
          <a:cxnLst/>
          <a:rect l="0" t="0" r="0" b="0"/>
          <a:pathLst>
            <a:path>
              <a:moveTo>
                <a:pt x="1647490" y="0"/>
              </a:moveTo>
              <a:lnTo>
                <a:pt x="1647490" y="267155"/>
              </a:lnTo>
              <a:lnTo>
                <a:pt x="0" y="267155"/>
              </a:lnTo>
              <a:lnTo>
                <a:pt x="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56644C-8797-4DA6-AC75-7DF910BCF31A}">
      <dsp:nvSpPr>
        <dsp:cNvPr id="0" name=""/>
        <dsp:cNvSpPr/>
      </dsp:nvSpPr>
      <dsp:spPr>
        <a:xfrm>
          <a:off x="3970144" y="2504951"/>
          <a:ext cx="2059363" cy="392027"/>
        </a:xfrm>
        <a:custGeom>
          <a:avLst/>
          <a:gdLst/>
          <a:ahLst/>
          <a:cxnLst/>
          <a:rect l="0" t="0" r="0" b="0"/>
          <a:pathLst>
            <a:path>
              <a:moveTo>
                <a:pt x="2059363" y="0"/>
              </a:moveTo>
              <a:lnTo>
                <a:pt x="2059363" y="267155"/>
              </a:lnTo>
              <a:lnTo>
                <a:pt x="0" y="267155"/>
              </a:lnTo>
              <a:lnTo>
                <a:pt x="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02C98FC-1030-403C-98D0-5FBCF573BD66}">
      <dsp:nvSpPr>
        <dsp:cNvPr id="0" name=""/>
        <dsp:cNvSpPr/>
      </dsp:nvSpPr>
      <dsp:spPr>
        <a:xfrm>
          <a:off x="4176080" y="1256976"/>
          <a:ext cx="1853427" cy="3920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7155"/>
              </a:lnTo>
              <a:lnTo>
                <a:pt x="1853427" y="267155"/>
              </a:lnTo>
              <a:lnTo>
                <a:pt x="1853427" y="39202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47542A-F89C-43ED-A5FA-0754130421BA}">
      <dsp:nvSpPr>
        <dsp:cNvPr id="0" name=""/>
        <dsp:cNvSpPr/>
      </dsp:nvSpPr>
      <dsp:spPr>
        <a:xfrm>
          <a:off x="2276933" y="2504951"/>
          <a:ext cx="91440" cy="3920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20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9E5790-5E2B-4441-A9A8-FD0779AA5AA2}">
      <dsp:nvSpPr>
        <dsp:cNvPr id="0" name=""/>
        <dsp:cNvSpPr/>
      </dsp:nvSpPr>
      <dsp:spPr>
        <a:xfrm>
          <a:off x="2322653" y="1256976"/>
          <a:ext cx="1853427" cy="392027"/>
        </a:xfrm>
        <a:custGeom>
          <a:avLst/>
          <a:gdLst/>
          <a:ahLst/>
          <a:cxnLst/>
          <a:rect l="0" t="0" r="0" b="0"/>
          <a:pathLst>
            <a:path>
              <a:moveTo>
                <a:pt x="1853427" y="0"/>
              </a:moveTo>
              <a:lnTo>
                <a:pt x="1853427" y="267155"/>
              </a:lnTo>
              <a:lnTo>
                <a:pt x="0" y="267155"/>
              </a:lnTo>
              <a:lnTo>
                <a:pt x="0" y="39202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6FDFDA-E696-413C-9145-D1D568258FCB}">
      <dsp:nvSpPr>
        <dsp:cNvPr id="0" name=""/>
        <dsp:cNvSpPr/>
      </dsp:nvSpPr>
      <dsp:spPr>
        <a:xfrm>
          <a:off x="629442" y="1256976"/>
          <a:ext cx="91440" cy="39202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9202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A1D6A9-E7C7-42EC-80FE-3C74D6C522E4}">
      <dsp:nvSpPr>
        <dsp:cNvPr id="0" name=""/>
        <dsp:cNvSpPr/>
      </dsp:nvSpPr>
      <dsp:spPr>
        <a:xfrm>
          <a:off x="1188" y="401030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EB38CC-2786-4061-992B-F168EF847EAB}">
      <dsp:nvSpPr>
        <dsp:cNvPr id="0" name=""/>
        <dsp:cNvSpPr/>
      </dsp:nvSpPr>
      <dsp:spPr>
        <a:xfrm>
          <a:off x="150960" y="543313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Új ügyfél</a:t>
          </a:r>
          <a:endParaRPr lang="hu-HU" sz="1200" kern="1200" dirty="0"/>
        </a:p>
      </dsp:txBody>
      <dsp:txXfrm>
        <a:off x="176030" y="568383"/>
        <a:ext cx="1297807" cy="805806"/>
      </dsp:txXfrm>
    </dsp:sp>
    <dsp:sp modelId="{2BC9D844-C529-4422-AD64-683B5F66A63E}">
      <dsp:nvSpPr>
        <dsp:cNvPr id="0" name=""/>
        <dsp:cNvSpPr/>
      </dsp:nvSpPr>
      <dsp:spPr>
        <a:xfrm>
          <a:off x="1188" y="1649004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4A3788-F31F-42E7-87C0-880F333453BE}">
      <dsp:nvSpPr>
        <dsp:cNvPr id="0" name=""/>
        <dsp:cNvSpPr/>
      </dsp:nvSpPr>
      <dsp:spPr>
        <a:xfrm>
          <a:off x="150960" y="1791288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Új igénylés </a:t>
          </a:r>
          <a:endParaRPr lang="hu-HU" sz="1200" kern="1200" dirty="0"/>
        </a:p>
      </dsp:txBody>
      <dsp:txXfrm>
        <a:off x="176030" y="1816358"/>
        <a:ext cx="1297807" cy="805806"/>
      </dsp:txXfrm>
    </dsp:sp>
    <dsp:sp modelId="{7B738478-8BF2-4C17-939C-29AD5DDCB6C7}">
      <dsp:nvSpPr>
        <dsp:cNvPr id="0" name=""/>
        <dsp:cNvSpPr/>
      </dsp:nvSpPr>
      <dsp:spPr>
        <a:xfrm>
          <a:off x="3502106" y="401030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DB2206-D133-4164-BD8D-1A255C96D0FF}">
      <dsp:nvSpPr>
        <dsp:cNvPr id="0" name=""/>
        <dsp:cNvSpPr/>
      </dsp:nvSpPr>
      <dsp:spPr>
        <a:xfrm>
          <a:off x="3651878" y="543313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„Régi” ügyfél</a:t>
          </a:r>
          <a:endParaRPr lang="hu-HU" sz="1200" kern="1200" dirty="0"/>
        </a:p>
      </dsp:txBody>
      <dsp:txXfrm>
        <a:off x="3676948" y="568383"/>
        <a:ext cx="1297807" cy="805806"/>
      </dsp:txXfrm>
    </dsp:sp>
    <dsp:sp modelId="{4C4CB23C-E7C2-4684-AFFE-913F46468657}">
      <dsp:nvSpPr>
        <dsp:cNvPr id="0" name=""/>
        <dsp:cNvSpPr/>
      </dsp:nvSpPr>
      <dsp:spPr>
        <a:xfrm>
          <a:off x="1648679" y="1649004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5BEAEB-3D07-4975-AA04-C739A520B17B}">
      <dsp:nvSpPr>
        <dsp:cNvPr id="0" name=""/>
        <dsp:cNvSpPr/>
      </dsp:nvSpPr>
      <dsp:spPr>
        <a:xfrm>
          <a:off x="1798451" y="1791288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Nincs szerződés</a:t>
          </a:r>
          <a:endParaRPr lang="hu-HU" sz="1200" kern="1200" dirty="0"/>
        </a:p>
      </dsp:txBody>
      <dsp:txXfrm>
        <a:off x="1823521" y="1816358"/>
        <a:ext cx="1297807" cy="805806"/>
      </dsp:txXfrm>
    </dsp:sp>
    <dsp:sp modelId="{5C92B7E7-8941-424F-A143-5B211F7B124F}">
      <dsp:nvSpPr>
        <dsp:cNvPr id="0" name=""/>
        <dsp:cNvSpPr/>
      </dsp:nvSpPr>
      <dsp:spPr>
        <a:xfrm>
          <a:off x="1648679" y="2896979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8B9DA-D40D-467A-BACD-977087A8F9BC}">
      <dsp:nvSpPr>
        <dsp:cNvPr id="0" name=""/>
        <dsp:cNvSpPr/>
      </dsp:nvSpPr>
      <dsp:spPr>
        <a:xfrm>
          <a:off x="1798451" y="3039262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Ismételt igénylés</a:t>
          </a:r>
          <a:endParaRPr lang="hu-HU" sz="1200" kern="1200" dirty="0"/>
        </a:p>
      </dsp:txBody>
      <dsp:txXfrm>
        <a:off x="1823521" y="3064332"/>
        <a:ext cx="1297807" cy="805806"/>
      </dsp:txXfrm>
    </dsp:sp>
    <dsp:sp modelId="{67633F15-4160-4923-9F68-51533D6A0FB5}">
      <dsp:nvSpPr>
        <dsp:cNvPr id="0" name=""/>
        <dsp:cNvSpPr/>
      </dsp:nvSpPr>
      <dsp:spPr>
        <a:xfrm>
          <a:off x="5355534" y="1649004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7996FB-62E8-41FB-AE1D-10D6F740B487}">
      <dsp:nvSpPr>
        <dsp:cNvPr id="0" name=""/>
        <dsp:cNvSpPr/>
      </dsp:nvSpPr>
      <dsp:spPr>
        <a:xfrm>
          <a:off x="5505306" y="1791288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Van szerződés</a:t>
          </a:r>
          <a:endParaRPr lang="hu-HU" sz="1200" kern="1200" dirty="0"/>
        </a:p>
      </dsp:txBody>
      <dsp:txXfrm>
        <a:off x="5530376" y="1816358"/>
        <a:ext cx="1297807" cy="805806"/>
      </dsp:txXfrm>
    </dsp:sp>
    <dsp:sp modelId="{01B0E80D-717F-4191-84DC-6BAC5479E7C4}">
      <dsp:nvSpPr>
        <dsp:cNvPr id="0" name=""/>
        <dsp:cNvSpPr/>
      </dsp:nvSpPr>
      <dsp:spPr>
        <a:xfrm>
          <a:off x="3296170" y="2896979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4EEE3F-6428-4EE4-8F15-5896B3A3059B}">
      <dsp:nvSpPr>
        <dsp:cNvPr id="0" name=""/>
        <dsp:cNvSpPr/>
      </dsp:nvSpPr>
      <dsp:spPr>
        <a:xfrm>
          <a:off x="3445942" y="3039262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Azonos bank</a:t>
          </a:r>
          <a:endParaRPr lang="hu-HU" sz="1200" kern="1200" dirty="0"/>
        </a:p>
      </dsp:txBody>
      <dsp:txXfrm>
        <a:off x="3471012" y="3064332"/>
        <a:ext cx="1297807" cy="805806"/>
      </dsp:txXfrm>
    </dsp:sp>
    <dsp:sp modelId="{70DFD6AD-7185-4E2B-83A9-8EB76D4FA4A3}">
      <dsp:nvSpPr>
        <dsp:cNvPr id="0" name=""/>
        <dsp:cNvSpPr/>
      </dsp:nvSpPr>
      <dsp:spPr>
        <a:xfrm>
          <a:off x="1648679" y="4144953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350C66-CA32-4498-B725-8A5353965818}">
      <dsp:nvSpPr>
        <dsp:cNvPr id="0" name=""/>
        <dsp:cNvSpPr/>
      </dsp:nvSpPr>
      <dsp:spPr>
        <a:xfrm>
          <a:off x="1798451" y="4287237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err="1" smtClean="0"/>
            <a:t>Futamidő.hossz</a:t>
          </a:r>
          <a:r>
            <a:rPr lang="hu-HU" sz="1200" kern="1200" dirty="0" smtClean="0"/>
            <a:t>./keret csökkentés </a:t>
          </a:r>
          <a:endParaRPr lang="hu-HU" sz="1200" kern="1200" dirty="0"/>
        </a:p>
      </dsp:txBody>
      <dsp:txXfrm>
        <a:off x="1823521" y="4312307"/>
        <a:ext cx="1297807" cy="805806"/>
      </dsp:txXfrm>
    </dsp:sp>
    <dsp:sp modelId="{8A047F80-0194-4EA6-AB5E-409522BA6ADE}">
      <dsp:nvSpPr>
        <dsp:cNvPr id="0" name=""/>
        <dsp:cNvSpPr/>
      </dsp:nvSpPr>
      <dsp:spPr>
        <a:xfrm>
          <a:off x="3296170" y="4144953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6E1AD2-BEAB-4604-8D8E-77EF28AD74B0}">
      <dsp:nvSpPr>
        <dsp:cNvPr id="0" name=""/>
        <dsp:cNvSpPr/>
      </dsp:nvSpPr>
      <dsp:spPr>
        <a:xfrm>
          <a:off x="3445942" y="4287237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Futamidő hossz./keretemelés</a:t>
          </a:r>
          <a:endParaRPr lang="hu-HU" sz="1200" kern="1200" dirty="0"/>
        </a:p>
      </dsp:txBody>
      <dsp:txXfrm>
        <a:off x="3471012" y="4312307"/>
        <a:ext cx="1297807" cy="805806"/>
      </dsp:txXfrm>
    </dsp:sp>
    <dsp:sp modelId="{3EF61CB3-25A0-465F-AD16-520E2E03AF2E}">
      <dsp:nvSpPr>
        <dsp:cNvPr id="0" name=""/>
        <dsp:cNvSpPr/>
      </dsp:nvSpPr>
      <dsp:spPr>
        <a:xfrm>
          <a:off x="4943661" y="4144953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A738FF-5705-43BA-885D-8A21413E75A8}">
      <dsp:nvSpPr>
        <dsp:cNvPr id="0" name=""/>
        <dsp:cNvSpPr/>
      </dsp:nvSpPr>
      <dsp:spPr>
        <a:xfrm>
          <a:off x="5093433" y="4287237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Felülvizsgálat</a:t>
          </a:r>
          <a:endParaRPr lang="hu-HU" sz="1200" kern="1200" dirty="0"/>
        </a:p>
      </dsp:txBody>
      <dsp:txXfrm>
        <a:off x="5118503" y="4312307"/>
        <a:ext cx="1297807" cy="805806"/>
      </dsp:txXfrm>
    </dsp:sp>
    <dsp:sp modelId="{91445D96-DE01-4EB9-AE34-5BF2D7A853C5}">
      <dsp:nvSpPr>
        <dsp:cNvPr id="0" name=""/>
        <dsp:cNvSpPr/>
      </dsp:nvSpPr>
      <dsp:spPr>
        <a:xfrm>
          <a:off x="7414897" y="2896979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831D77-7D47-4C42-8877-956DCB873481}">
      <dsp:nvSpPr>
        <dsp:cNvPr id="0" name=""/>
        <dsp:cNvSpPr/>
      </dsp:nvSpPr>
      <dsp:spPr>
        <a:xfrm>
          <a:off x="7564669" y="3039262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Eltérő bank</a:t>
          </a:r>
          <a:endParaRPr lang="hu-HU" sz="1200" kern="1200" dirty="0"/>
        </a:p>
      </dsp:txBody>
      <dsp:txXfrm>
        <a:off x="7589739" y="3064332"/>
        <a:ext cx="1297807" cy="805806"/>
      </dsp:txXfrm>
    </dsp:sp>
    <dsp:sp modelId="{B97FD45A-0CA0-4FAF-8A03-509C455ACEEC}">
      <dsp:nvSpPr>
        <dsp:cNvPr id="0" name=""/>
        <dsp:cNvSpPr/>
      </dsp:nvSpPr>
      <dsp:spPr>
        <a:xfrm>
          <a:off x="6591152" y="4144953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9EDC1C-2452-43D9-B88F-AE96B0AF880A}">
      <dsp:nvSpPr>
        <dsp:cNvPr id="0" name=""/>
        <dsp:cNvSpPr/>
      </dsp:nvSpPr>
      <dsp:spPr>
        <a:xfrm>
          <a:off x="6740924" y="4287237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Meghossz./keretcsökkentés bankváltással</a:t>
          </a:r>
          <a:endParaRPr lang="hu-HU" sz="1200" kern="1200" dirty="0"/>
        </a:p>
      </dsp:txBody>
      <dsp:txXfrm>
        <a:off x="6765994" y="4312307"/>
        <a:ext cx="1297807" cy="805806"/>
      </dsp:txXfrm>
    </dsp:sp>
    <dsp:sp modelId="{AA2E9194-5CAA-4141-86FC-C27F4DF3559F}">
      <dsp:nvSpPr>
        <dsp:cNvPr id="0" name=""/>
        <dsp:cNvSpPr/>
      </dsp:nvSpPr>
      <dsp:spPr>
        <a:xfrm>
          <a:off x="8238643" y="4144953"/>
          <a:ext cx="1347947" cy="8559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CECB97-E2D9-4D94-8B68-A4AD202C2D33}">
      <dsp:nvSpPr>
        <dsp:cNvPr id="0" name=""/>
        <dsp:cNvSpPr/>
      </dsp:nvSpPr>
      <dsp:spPr>
        <a:xfrm>
          <a:off x="8388415" y="4287237"/>
          <a:ext cx="1347947" cy="8559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kern="1200" dirty="0" smtClean="0"/>
            <a:t>Keretemelés bankváltással</a:t>
          </a:r>
          <a:endParaRPr lang="hu-HU" sz="1200" kern="1200" dirty="0"/>
        </a:p>
      </dsp:txBody>
      <dsp:txXfrm>
        <a:off x="8413485" y="4312307"/>
        <a:ext cx="1297807" cy="8058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8DB6695-960A-4936-AE22-58FE9DFE85E7}" type="datetimeFigureOut">
              <a:rPr lang="hu-HU"/>
              <a:pPr>
                <a:defRPr/>
              </a:pPr>
              <a:t>2020. 06. 25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EE86F884-1884-464C-A31C-B399F38F4ECA}" type="slidenum">
              <a:rPr lang="hu-HU" altLang="en-US"/>
              <a:pPr/>
              <a:t>‹#›</a:t>
            </a:fld>
            <a:endParaRPr lang="hu-HU" altLang="en-US"/>
          </a:p>
        </p:txBody>
      </p:sp>
    </p:spTree>
    <p:extLst>
      <p:ext uri="{BB962C8B-B14F-4D97-AF65-F5344CB8AC3E}">
        <p14:creationId xmlns:p14="http://schemas.microsoft.com/office/powerpoint/2010/main" val="2829625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89471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89471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3832304-3CAC-4948-9668-19E1913EB453}" type="datetimeFigureOut">
              <a:rPr lang="en-US"/>
              <a:pPr>
                <a:defRPr/>
              </a:pPr>
              <a:t>6/25/2020</a:t>
            </a:fld>
            <a:endParaRPr lang="en-US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pl-PL" noProof="0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451" y="4714876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err="1" smtClean="0"/>
              <a:t>Kliknij</a:t>
            </a:r>
            <a:r>
              <a:rPr lang="en-US" noProof="0" dirty="0" smtClean="0"/>
              <a:t>, </a:t>
            </a:r>
            <a:r>
              <a:rPr lang="en-US" noProof="0" dirty="0" err="1" smtClean="0"/>
              <a:t>aby</a:t>
            </a:r>
            <a:r>
              <a:rPr lang="en-US" noProof="0" dirty="0" smtClean="0"/>
              <a:t> </a:t>
            </a:r>
            <a:r>
              <a:rPr lang="en-US" noProof="0" dirty="0" err="1" smtClean="0"/>
              <a:t>edytować</a:t>
            </a:r>
            <a:r>
              <a:rPr lang="en-US" noProof="0" dirty="0" smtClean="0"/>
              <a:t> style </a:t>
            </a:r>
            <a:r>
              <a:rPr lang="en-US" noProof="0" dirty="0" err="1" smtClean="0"/>
              <a:t>wzorca</a:t>
            </a:r>
            <a:r>
              <a:rPr lang="en-US" noProof="0" dirty="0" smtClean="0"/>
              <a:t> </a:t>
            </a:r>
            <a:r>
              <a:rPr lang="en-US" noProof="0" dirty="0" err="1" smtClean="0"/>
              <a:t>tekstu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Drug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zeci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Czwar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Piąty</a:t>
            </a:r>
            <a:r>
              <a:rPr lang="en-US" noProof="0" dirty="0" smtClean="0"/>
              <a:t> </a:t>
            </a:r>
            <a:r>
              <a:rPr lang="en-US" noProof="0" dirty="0" err="1" smtClean="0"/>
              <a:t>poziom</a:t>
            </a:r>
            <a:endParaRPr lang="en-US" noProof="0" dirty="0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89471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49689" y="9428164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3577A216-44AF-4396-B733-068836575CF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58176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en-US" smtClean="0"/>
          </a:p>
        </p:txBody>
      </p:sp>
      <p:sp>
        <p:nvSpPr>
          <p:cNvPr id="23556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709FBF4-AC3F-440A-AD21-1A5D5507A82F}" type="slidenum">
              <a:rPr lang="en-US" altLang="en-US" sz="1200">
                <a:latin typeface="Calibri" panose="020F0502020204030204" pitchFamily="34" charset="0"/>
              </a:rPr>
              <a:pPr eaLnBrk="1" hangingPunct="1"/>
              <a:t>2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6134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93361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5799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2384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42846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4362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2820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rtl="0"/>
            <a:fld id="{6ABC0883-0DBB-4A45-B9EC-4D5F3A927752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6776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2308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31424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9767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en-US" smtClean="0"/>
          </a:p>
        </p:txBody>
      </p:sp>
      <p:sp>
        <p:nvSpPr>
          <p:cNvPr id="23556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890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09FBF4-AC3F-440A-AD21-1A5D5507A82F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890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89973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99244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11901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4863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r>
              <a:rPr lang="en-US"/>
              <a:t>Шаблон: 2 колонки текст картинки на плашках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7237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93093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257587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Шаблон: Содержание квадраты</a:t>
            </a:r>
          </a:p>
          <a:p>
            <a:pPr rtl="0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BC0883-0DBB-4A45-B9EC-4D5F3A92775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6335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422758-CD4F-4A0B-98A8-A228507DCDFA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49534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422758-CD4F-4A0B-98A8-A228507DCDFA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75638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422758-CD4F-4A0B-98A8-A228507DCDFA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54414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en-US" smtClean="0"/>
          </a:p>
        </p:txBody>
      </p:sp>
      <p:sp>
        <p:nvSpPr>
          <p:cNvPr id="23556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A709FBF4-AC3F-440A-AD21-1A5D5507A82F}" type="slidenum">
              <a:rPr lang="en-US" altLang="en-US" sz="1200">
                <a:latin typeface="Calibri" panose="020F0502020204030204" pitchFamily="34" charset="0"/>
              </a:rPr>
              <a:pPr eaLnBrk="1" hangingPunct="1"/>
              <a:t>10</a:t>
            </a:fld>
            <a:endParaRPr lang="en-US" altLang="en-US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7773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77A216-44AF-4396-B733-068836575CFC}" type="slidenum">
              <a:rPr lang="en-US" altLang="en-US" smtClean="0"/>
              <a:pPr/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4825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  <p:sp>
        <p:nvSpPr>
          <p:cNvPr id="26628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02C9EFC-9AC6-433E-835A-0EBB5387CEA1}" type="slidenum">
              <a:rPr lang="en-US" altLang="hu-HU" sz="1200">
                <a:latin typeface="Calibri" panose="020F0502020204030204" pitchFamily="34" charset="0"/>
              </a:rPr>
              <a:pPr/>
              <a:t>12</a:t>
            </a:fld>
            <a:endParaRPr lang="en-US" altLang="hu-HU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1724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Symbol zastępczy notatek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  <p:sp>
        <p:nvSpPr>
          <p:cNvPr id="26628" name="Symbol zastępczy numeru slajd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9013" eaLnBrk="0" fontAlgn="base" hangingPunct="0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002C9EFC-9AC6-433E-835A-0EBB5387CEA1}" type="slidenum">
              <a:rPr lang="en-US" altLang="hu-HU" sz="1200">
                <a:latin typeface="Calibri" panose="020F0502020204030204" pitchFamily="34" charset="0"/>
              </a:rPr>
              <a:pPr/>
              <a:t>15</a:t>
            </a:fld>
            <a:endParaRPr lang="en-US" altLang="hu-HU" sz="12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9653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.xml"/><Relationship Id="rId7" Type="http://schemas.openxmlformats.org/officeDocument/2006/relationships/image" Target="../media/image2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1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113"/>
            <a:ext cx="3140075" cy="718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rostokąt 11"/>
          <p:cNvSpPr/>
          <p:nvPr userDrawn="1"/>
        </p:nvSpPr>
        <p:spPr bwMode="auto">
          <a:xfrm>
            <a:off x="3363913" y="2757488"/>
            <a:ext cx="684212" cy="682625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8" name="Picture 6"/>
          <p:cNvPicPr>
            <a:picLocks noChangeAspect="1" noChangeArrowheads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025" y="288925"/>
            <a:ext cx="3065463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3537678" y="2914650"/>
            <a:ext cx="6332349" cy="1147868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pl-PL" sz="3800" dirty="0"/>
            </a:lvl1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3537676" y="4431559"/>
            <a:ext cx="6332538" cy="73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>
            <a:lvl1pPr marL="0" indent="0">
              <a:buNone/>
              <a:defRPr lang="pl-PL" sz="2400">
                <a:solidFill>
                  <a:schemeClr val="tx1">
                    <a:lumMod val="75000"/>
                    <a:lumOff val="25000"/>
                  </a:schemeClr>
                </a:solidFill>
                <a:ea typeface="Segoe UI"/>
                <a:cs typeface="Segoe UI"/>
              </a:defRPr>
            </a:lvl1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r>
              <a:rPr lang="en-US" dirty="0" smtClean="0"/>
              <a:t>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podtytułu</a:t>
            </a:r>
            <a:endParaRPr lang="en-US" dirty="0"/>
          </a:p>
        </p:txBody>
      </p:sp>
      <p:sp>
        <p:nvSpPr>
          <p:cNvPr id="16" name="Symbol zastępczy tekstu 15"/>
          <p:cNvSpPr>
            <a:spLocks noGrp="1"/>
          </p:cNvSpPr>
          <p:nvPr>
            <p:ph type="body" sz="quarter" idx="13"/>
          </p:nvPr>
        </p:nvSpPr>
        <p:spPr>
          <a:xfrm>
            <a:off x="3536949" y="2306479"/>
            <a:ext cx="6332538" cy="246221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Symbol zastępczy stopki 4"/>
          <p:cNvSpPr>
            <a:spLocks noGrp="1"/>
          </p:cNvSpPr>
          <p:nvPr>
            <p:ph type="ftr" sz="quarter" idx="14"/>
          </p:nvPr>
        </p:nvSpPr>
        <p:spPr>
          <a:xfrm>
            <a:off x="3536950" y="6765925"/>
            <a:ext cx="5549900" cy="153988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300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507444" y="1672803"/>
            <a:ext cx="4482426" cy="2246769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159018" y="1672803"/>
            <a:ext cx="4482426" cy="2246769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1E92E2-2EEC-4DF3-9C9C-D0A552F2433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64431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507444" y="1673225"/>
            <a:ext cx="4484188" cy="6003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94735" indent="0">
              <a:buNone/>
              <a:defRPr sz="2200" b="1"/>
            </a:lvl2pPr>
            <a:lvl3pPr marL="989471" indent="0">
              <a:buNone/>
              <a:defRPr sz="1900" b="1"/>
            </a:lvl3pPr>
            <a:lvl4pPr marL="1484206" indent="0">
              <a:buNone/>
              <a:defRPr sz="1700" b="1"/>
            </a:lvl4pPr>
            <a:lvl5pPr marL="1978939" indent="0">
              <a:buNone/>
              <a:defRPr sz="1700" b="1"/>
            </a:lvl5pPr>
            <a:lvl6pPr marL="2473675" indent="0">
              <a:buNone/>
              <a:defRPr sz="1700" b="1"/>
            </a:lvl6pPr>
            <a:lvl7pPr marL="2968410" indent="0">
              <a:buNone/>
              <a:defRPr sz="1700" b="1"/>
            </a:lvl7pPr>
            <a:lvl8pPr marL="3463146" indent="0">
              <a:buNone/>
              <a:defRPr sz="1700" b="1"/>
            </a:lvl8pPr>
            <a:lvl9pPr marL="3957882" indent="0">
              <a:buNone/>
              <a:defRPr sz="1700" b="1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507444" y="2445000"/>
            <a:ext cx="4484188" cy="195438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5155497" y="1673225"/>
            <a:ext cx="4485949" cy="6003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94735" indent="0">
              <a:buNone/>
              <a:defRPr sz="2200" b="1"/>
            </a:lvl2pPr>
            <a:lvl3pPr marL="989471" indent="0">
              <a:buNone/>
              <a:defRPr sz="1900" b="1"/>
            </a:lvl3pPr>
            <a:lvl4pPr marL="1484206" indent="0">
              <a:buNone/>
              <a:defRPr sz="1700" b="1"/>
            </a:lvl4pPr>
            <a:lvl5pPr marL="1978939" indent="0">
              <a:buNone/>
              <a:defRPr sz="1700" b="1"/>
            </a:lvl5pPr>
            <a:lvl6pPr marL="2473675" indent="0">
              <a:buNone/>
              <a:defRPr sz="1700" b="1"/>
            </a:lvl6pPr>
            <a:lvl7pPr marL="2968410" indent="0">
              <a:buNone/>
              <a:defRPr sz="1700" b="1"/>
            </a:lvl7pPr>
            <a:lvl8pPr marL="3463146" indent="0">
              <a:buNone/>
              <a:defRPr sz="1700" b="1"/>
            </a:lvl8pPr>
            <a:lvl9pPr marL="3957882" indent="0">
              <a:buNone/>
              <a:defRPr sz="1700" b="1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5155497" y="2445000"/>
            <a:ext cx="4485949" cy="1954381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/>
          </a:p>
        </p:txBody>
      </p:sp>
      <p:sp>
        <p:nvSpPr>
          <p:cNvPr id="7" name="Symbol zastępczy stopki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ymbol zastępczy numeru slajdu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6AA21-7419-419B-8BF6-F453665079F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09252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9280" y="423024"/>
            <a:ext cx="6220158" cy="4516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hu-HU" smtClean="0"/>
              <a:t>Mintacím szerkesztés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59279" y="1251051"/>
            <a:ext cx="9710448" cy="541980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baseline="0">
                <a:latin typeface="Arial" pitchFamily="34" charset="0"/>
              </a:defRPr>
            </a:lvl1pPr>
            <a:lvl2pPr marL="371086" indent="0">
              <a:buNone/>
              <a:defRPr sz="1500" baseline="0">
                <a:latin typeface="Arial" pitchFamily="34" charset="0"/>
              </a:defRPr>
            </a:lvl2pPr>
            <a:lvl3pPr marL="742173" indent="0">
              <a:buNone/>
              <a:defRPr sz="1500" baseline="0">
                <a:latin typeface="Arial" pitchFamily="34" charset="0"/>
              </a:defRPr>
            </a:lvl3pPr>
            <a:lvl4pPr marL="1082335" indent="0">
              <a:buNone/>
              <a:defRPr sz="1300" baseline="0">
                <a:latin typeface="Arial" pitchFamily="34" charset="0"/>
              </a:defRPr>
            </a:lvl4pPr>
            <a:lvl5pPr marL="1422498" indent="0">
              <a:buNone/>
              <a:defRPr sz="1300" baseline="0">
                <a:latin typeface="Arial" pitchFamily="34" charset="0"/>
              </a:defRPr>
            </a:lvl5pPr>
          </a:lstStyle>
          <a:p>
            <a:pPr lvl="0"/>
            <a:r>
              <a:rPr lang="hu-HU" altLang="de-DE" noProof="0" smtClean="0"/>
              <a:t>Mintaszöveg szerkesztése</a:t>
            </a:r>
          </a:p>
          <a:p>
            <a:pPr lvl="1"/>
            <a:r>
              <a:rPr lang="hu-HU" altLang="de-DE" noProof="0" smtClean="0"/>
              <a:t>Második szint</a:t>
            </a:r>
          </a:p>
          <a:p>
            <a:pPr lvl="2"/>
            <a:r>
              <a:rPr lang="hu-HU" altLang="de-DE" noProof="0" smtClean="0"/>
              <a:t>Harmadik szint</a:t>
            </a:r>
          </a:p>
          <a:p>
            <a:pPr lvl="3"/>
            <a:r>
              <a:rPr lang="hu-HU" altLang="de-DE" noProof="0" smtClean="0"/>
              <a:t>Negyedik szint</a:t>
            </a:r>
          </a:p>
          <a:p>
            <a:pPr lvl="4"/>
            <a:r>
              <a:rPr lang="hu-HU" altLang="de-DE" noProof="0" smtClean="0"/>
              <a:t>Ötödik szint</a:t>
            </a:r>
            <a:endParaRPr lang="en-US" altLang="de-DE" noProof="0" dirty="0" smtClean="0"/>
          </a:p>
        </p:txBody>
      </p:sp>
      <p:sp>
        <p:nvSpPr>
          <p:cNvPr id="4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7352864" y="6855890"/>
            <a:ext cx="2337040" cy="30068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742173" rtl="0" eaLnBrk="0" fontAlgn="base" latinLnBrk="0" hangingPunct="0">
              <a:lnSpc>
                <a:spcPct val="12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AT" sz="800" b="1" smtClean="0">
                <a:solidFill>
                  <a:srgbClr val="439639"/>
                </a:solidFill>
                <a:ea typeface="ＭＳ Ｐゴシック" charset="0"/>
              </a:defRPr>
            </a:lvl1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997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6615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59"/>
          <p:cNvSpPr>
            <a:spLocks noChangeShapeType="1"/>
          </p:cNvSpPr>
          <p:nvPr userDrawn="1"/>
        </p:nvSpPr>
        <p:spPr bwMode="auto">
          <a:xfrm>
            <a:off x="2436791" y="2967231"/>
            <a:ext cx="0" cy="1143414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>
            <a:normAutofit fontScale="25000" lnSpcReduction="20000"/>
          </a:bodyPr>
          <a:lstStyle/>
          <a:p>
            <a:endParaRPr lang="en-US" sz="749" noProof="0" dirty="0"/>
          </a:p>
        </p:txBody>
      </p:sp>
      <p:sp>
        <p:nvSpPr>
          <p:cNvPr id="7" name="Line 59"/>
          <p:cNvSpPr>
            <a:spLocks noChangeShapeType="1"/>
          </p:cNvSpPr>
          <p:nvPr userDrawn="1"/>
        </p:nvSpPr>
        <p:spPr bwMode="auto">
          <a:xfrm>
            <a:off x="2436791" y="6248114"/>
            <a:ext cx="0" cy="345181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>
            <a:normAutofit fontScale="25000" lnSpcReduction="20000"/>
          </a:bodyPr>
          <a:lstStyle/>
          <a:p>
            <a:endParaRPr lang="en-US" sz="749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556756" y="2967231"/>
            <a:ext cx="4315920" cy="5645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AT" sz="2247" b="1" kern="1200" dirty="0">
                <a:solidFill>
                  <a:srgbClr val="00703C"/>
                </a:solidFill>
                <a:latin typeface="+mj-lt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Presentation Titl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57045" y="3531750"/>
            <a:ext cx="4315631" cy="5788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de-AT" sz="1748" b="1" kern="1200" dirty="0">
                <a:solidFill>
                  <a:srgbClr val="00703C"/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67209" y="6248114"/>
            <a:ext cx="1678267" cy="3451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None/>
              <a:defRPr lang="de-AT" sz="999" kern="1200" dirty="0">
                <a:solidFill>
                  <a:srgbClr val="00703C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Da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8924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одержание квадр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28816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78804" y="1429880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84274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074444" y="1428672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7637" y="2122206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842743" y="2122206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28816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578804" y="3164117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584274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5074444" y="3164117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7637" y="3857650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842743" y="3857650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28816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9" hasCustomPrompt="1"/>
          </p:nvPr>
        </p:nvSpPr>
        <p:spPr>
          <a:xfrm>
            <a:off x="578804" y="4898354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584274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5074444" y="4898354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287637" y="5591887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5842743" y="5591887"/>
            <a:ext cx="3248477" cy="368947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827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4062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 аватар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88944" y="0"/>
            <a:ext cx="7663551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88944" cy="914170"/>
          </a:xfrm>
          <a:prstGeom prst="rect">
            <a:avLst/>
          </a:prstGeom>
          <a:solidFill>
            <a:schemeClr val="accent1"/>
          </a:solidFill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453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851"/>
            <a:ext cx="10148888" cy="7178001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54515" y="2513629"/>
            <a:ext cx="6465368" cy="1720995"/>
          </a:xfrm>
        </p:spPr>
        <p:txBody>
          <a:bodyPr anchor="b">
            <a:noAutofit/>
          </a:bodyPr>
          <a:lstStyle>
            <a:lvl1pPr algn="r">
              <a:defRPr sz="4495">
                <a:solidFill>
                  <a:schemeClr val="accent1"/>
                </a:solidFill>
              </a:defRPr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4515" y="4234621"/>
            <a:ext cx="6465368" cy="1146666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80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1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22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3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4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4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Kattintson ide az alcím mintájának szerkesztéséhez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5747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997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236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5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6" name="Obraz 9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68538" y="438547"/>
            <a:ext cx="9473975" cy="801590"/>
          </a:xfrm>
        </p:spPr>
        <p:txBody>
          <a:bodyPr/>
          <a:lstStyle/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7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468313" y="6848475"/>
            <a:ext cx="5551487" cy="153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ymbol zastępczy numeru slajdu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E1FC676-34B4-4D7D-8AF9-DE7A52D50E2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064182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8" y="2823407"/>
            <a:ext cx="7156055" cy="1909454"/>
          </a:xfrm>
        </p:spPr>
        <p:txBody>
          <a:bodyPr anchor="b"/>
          <a:lstStyle>
            <a:lvl1pPr algn="l">
              <a:defRPr sz="3330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732860"/>
            <a:ext cx="7156055" cy="899437"/>
          </a:xfrm>
        </p:spPr>
        <p:txBody>
          <a:bodyPr anchor="t"/>
          <a:lstStyle>
            <a:lvl1pPr marL="0" indent="0" algn="l">
              <a:buNone/>
              <a:defRPr sz="1665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277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3828" y="2258616"/>
            <a:ext cx="3482882" cy="4056844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37002" y="2258616"/>
            <a:ext cx="3482882" cy="4056845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6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06024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2506" y="2259028"/>
            <a:ext cx="3484204" cy="602407"/>
          </a:xfrm>
        </p:spPr>
        <p:txBody>
          <a:bodyPr anchor="b">
            <a:noAutofit/>
          </a:bodyPr>
          <a:lstStyle>
            <a:lvl1pPr marL="0" indent="0">
              <a:buNone/>
              <a:defRPr sz="1998" b="0"/>
            </a:lvl1pPr>
            <a:lvl2pPr marL="380573" indent="0">
              <a:buNone/>
              <a:defRPr sz="1665" b="1"/>
            </a:lvl2pPr>
            <a:lvl3pPr marL="761147" indent="0">
              <a:buNone/>
              <a:defRPr sz="1498" b="1"/>
            </a:lvl3pPr>
            <a:lvl4pPr marL="1141720" indent="0">
              <a:buNone/>
              <a:defRPr sz="1332" b="1"/>
            </a:lvl4pPr>
            <a:lvl5pPr marL="1522293" indent="0">
              <a:buNone/>
              <a:defRPr sz="1332" b="1"/>
            </a:lvl5pPr>
            <a:lvl6pPr marL="1902866" indent="0">
              <a:buNone/>
              <a:defRPr sz="1332" b="1"/>
            </a:lvl6pPr>
            <a:lvl7pPr marL="2283440" indent="0">
              <a:buNone/>
              <a:defRPr sz="1332" b="1"/>
            </a:lvl7pPr>
            <a:lvl8pPr marL="2664013" indent="0">
              <a:buNone/>
              <a:defRPr sz="1332" b="1"/>
            </a:lvl8pPr>
            <a:lvl9pPr marL="3044586" indent="0">
              <a:buNone/>
              <a:defRPr sz="1332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2506" y="2861435"/>
            <a:ext cx="3484204" cy="3454026"/>
          </a:xfrm>
        </p:spPr>
        <p:txBody>
          <a:bodyPr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5682" y="2259028"/>
            <a:ext cx="3484200" cy="602407"/>
          </a:xfrm>
        </p:spPr>
        <p:txBody>
          <a:bodyPr anchor="b">
            <a:noAutofit/>
          </a:bodyPr>
          <a:lstStyle>
            <a:lvl1pPr marL="0" indent="0">
              <a:buNone/>
              <a:defRPr sz="1998" b="0"/>
            </a:lvl1pPr>
            <a:lvl2pPr marL="380573" indent="0">
              <a:buNone/>
              <a:defRPr sz="1665" b="1"/>
            </a:lvl2pPr>
            <a:lvl3pPr marL="761147" indent="0">
              <a:buNone/>
              <a:defRPr sz="1498" b="1"/>
            </a:lvl3pPr>
            <a:lvl4pPr marL="1141720" indent="0">
              <a:buNone/>
              <a:defRPr sz="1332" b="1"/>
            </a:lvl4pPr>
            <a:lvl5pPr marL="1522293" indent="0">
              <a:buNone/>
              <a:defRPr sz="1332" b="1"/>
            </a:lvl5pPr>
            <a:lvl6pPr marL="1902866" indent="0">
              <a:buNone/>
              <a:defRPr sz="1332" b="1"/>
            </a:lvl6pPr>
            <a:lvl7pPr marL="2283440" indent="0">
              <a:buNone/>
              <a:defRPr sz="1332" b="1"/>
            </a:lvl7pPr>
            <a:lvl8pPr marL="2664013" indent="0">
              <a:buNone/>
              <a:defRPr sz="1332" b="1"/>
            </a:lvl8pPr>
            <a:lvl9pPr marL="3044586" indent="0">
              <a:buNone/>
              <a:defRPr sz="1332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235683" y="2861435"/>
            <a:ext cx="3484199" cy="3454026"/>
          </a:xfrm>
        </p:spPr>
        <p:txBody>
          <a:bodyPr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2743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8" y="637258"/>
            <a:ext cx="7156055" cy="13807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72291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4620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7" y="1566596"/>
            <a:ext cx="3208594" cy="1336470"/>
          </a:xfrm>
        </p:spPr>
        <p:txBody>
          <a:bodyPr anchor="b">
            <a:normAutofit/>
          </a:bodyPr>
          <a:lstStyle>
            <a:lvl1pPr>
              <a:defRPr sz="1665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62713" y="538287"/>
            <a:ext cx="3757170" cy="5777173"/>
          </a:xfrm>
        </p:spPr>
        <p:txBody>
          <a:bodyPr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3827" y="2903066"/>
            <a:ext cx="3208594" cy="2701706"/>
          </a:xfrm>
        </p:spPr>
        <p:txBody>
          <a:bodyPr>
            <a:normAutofit/>
          </a:bodyPr>
          <a:lstStyle>
            <a:lvl1pPr marL="0" indent="0">
              <a:buNone/>
              <a:defRPr sz="1165"/>
            </a:lvl1pPr>
            <a:lvl2pPr marL="380459" indent="0">
              <a:buNone/>
              <a:defRPr sz="1165"/>
            </a:lvl2pPr>
            <a:lvl3pPr marL="760918" indent="0">
              <a:buNone/>
              <a:defRPr sz="999"/>
            </a:lvl3pPr>
            <a:lvl4pPr marL="1141378" indent="0">
              <a:buNone/>
              <a:defRPr sz="832"/>
            </a:lvl4pPr>
            <a:lvl5pPr marL="1521836" indent="0">
              <a:buNone/>
              <a:defRPr sz="832"/>
            </a:lvl5pPr>
            <a:lvl6pPr marL="1902295" indent="0">
              <a:buNone/>
              <a:defRPr sz="832"/>
            </a:lvl6pPr>
            <a:lvl7pPr marL="2282755" indent="0">
              <a:buNone/>
              <a:defRPr sz="832"/>
            </a:lvl7pPr>
            <a:lvl8pPr marL="2663214" indent="0">
              <a:buNone/>
              <a:defRPr sz="832"/>
            </a:lvl8pPr>
            <a:lvl9pPr marL="3043673" indent="0">
              <a:buNone/>
              <a:defRPr sz="832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6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803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8" y="5018405"/>
            <a:ext cx="7156054" cy="592451"/>
          </a:xfrm>
        </p:spPr>
        <p:txBody>
          <a:bodyPr anchor="b">
            <a:normAutofit/>
          </a:bodyPr>
          <a:lstStyle>
            <a:lvl1pPr algn="l">
              <a:defRPr sz="1998" b="0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63828" y="637258"/>
            <a:ext cx="7156055" cy="4020200"/>
          </a:xfrm>
        </p:spPr>
        <p:txBody>
          <a:bodyPr anchor="t">
            <a:normAutofit/>
          </a:bodyPr>
          <a:lstStyle>
            <a:lvl1pPr marL="0" indent="0" algn="ctr">
              <a:buNone/>
              <a:defRPr sz="1332"/>
            </a:lvl1pPr>
            <a:lvl2pPr marL="380573" indent="0">
              <a:buNone/>
              <a:defRPr sz="1332"/>
            </a:lvl2pPr>
            <a:lvl3pPr marL="761147" indent="0">
              <a:buNone/>
              <a:defRPr sz="1332"/>
            </a:lvl3pPr>
            <a:lvl4pPr marL="1141720" indent="0">
              <a:buNone/>
              <a:defRPr sz="1332"/>
            </a:lvl4pPr>
            <a:lvl5pPr marL="1522293" indent="0">
              <a:buNone/>
              <a:defRPr sz="1332"/>
            </a:lvl5pPr>
            <a:lvl6pPr marL="1902866" indent="0">
              <a:buNone/>
              <a:defRPr sz="1332"/>
            </a:lvl6pPr>
            <a:lvl7pPr marL="2283440" indent="0">
              <a:buNone/>
              <a:defRPr sz="1332"/>
            </a:lvl7pPr>
            <a:lvl8pPr marL="2664013" indent="0">
              <a:buNone/>
              <a:defRPr sz="1332"/>
            </a:lvl8pPr>
            <a:lvl9pPr marL="3044586" indent="0">
              <a:buNone/>
              <a:defRPr sz="1332"/>
            </a:lvl9pPr>
          </a:lstStyle>
          <a:p>
            <a:r>
              <a:rPr lang="hu-HU" smtClean="0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63828" y="5610856"/>
            <a:ext cx="7156054" cy="704605"/>
          </a:xfrm>
        </p:spPr>
        <p:txBody>
          <a:bodyPr>
            <a:normAutofit/>
          </a:bodyPr>
          <a:lstStyle>
            <a:lvl1pPr marL="0" indent="0">
              <a:buNone/>
              <a:defRPr sz="999"/>
            </a:lvl1pPr>
            <a:lvl2pPr marL="380573" indent="0">
              <a:buNone/>
              <a:defRPr sz="999"/>
            </a:lvl2pPr>
            <a:lvl3pPr marL="761147" indent="0">
              <a:buNone/>
              <a:defRPr sz="832"/>
            </a:lvl3pPr>
            <a:lvl4pPr marL="1141720" indent="0">
              <a:buNone/>
              <a:defRPr sz="749"/>
            </a:lvl4pPr>
            <a:lvl5pPr marL="1522293" indent="0">
              <a:buNone/>
              <a:defRPr sz="749"/>
            </a:lvl5pPr>
            <a:lvl6pPr marL="1902866" indent="0">
              <a:buNone/>
              <a:defRPr sz="749"/>
            </a:lvl6pPr>
            <a:lvl7pPr marL="2283440" indent="0">
              <a:buNone/>
              <a:defRPr sz="749"/>
            </a:lvl7pPr>
            <a:lvl8pPr marL="2664013" indent="0">
              <a:buNone/>
              <a:defRPr sz="749"/>
            </a:lvl8pPr>
            <a:lvl9pPr marL="3044586" indent="0">
              <a:buNone/>
              <a:defRPr sz="749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5247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ím és képaláír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8" y="637258"/>
            <a:ext cx="7156055" cy="3558023"/>
          </a:xfrm>
        </p:spPr>
        <p:txBody>
          <a:bodyPr anchor="ctr">
            <a:normAutofit/>
          </a:bodyPr>
          <a:lstStyle>
            <a:lvl1pPr algn="l">
              <a:defRPr sz="3663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673224"/>
            <a:ext cx="7156055" cy="1642237"/>
          </a:xfrm>
        </p:spPr>
        <p:txBody>
          <a:bodyPr anchor="ctr">
            <a:normAutofit/>
          </a:bodyPr>
          <a:lstStyle>
            <a:lvl1pPr marL="0" indent="0" algn="l">
              <a:buNone/>
              <a:defRPr sz="149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1308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dézet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263" y="637258"/>
            <a:ext cx="6737735" cy="3159736"/>
          </a:xfrm>
        </p:spPr>
        <p:txBody>
          <a:bodyPr anchor="ctr">
            <a:normAutofit/>
          </a:bodyPr>
          <a:lstStyle>
            <a:lvl1pPr algn="l">
              <a:defRPr sz="3663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37204" y="3796994"/>
            <a:ext cx="6013852" cy="398286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33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80573" indent="0">
              <a:buFontTx/>
              <a:buNone/>
              <a:defRPr/>
            </a:lvl2pPr>
            <a:lvl3pPr marL="761147" indent="0">
              <a:buFontTx/>
              <a:buNone/>
              <a:defRPr/>
            </a:lvl3pPr>
            <a:lvl4pPr marL="1141720" indent="0">
              <a:buFontTx/>
              <a:buNone/>
              <a:defRPr/>
            </a:lvl4pPr>
            <a:lvl5pPr marL="1522293" indent="0">
              <a:buFontTx/>
              <a:buNone/>
              <a:defRPr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673224"/>
            <a:ext cx="7156055" cy="1642237"/>
          </a:xfrm>
        </p:spPr>
        <p:txBody>
          <a:bodyPr anchor="ctr">
            <a:normAutofit/>
          </a:bodyPr>
          <a:lstStyle>
            <a:lvl1pPr marL="0" indent="0" algn="l">
              <a:buNone/>
              <a:defRPr sz="149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451065" y="826237"/>
            <a:ext cx="507444" cy="611308"/>
          </a:xfrm>
          <a:prstGeom prst="rect">
            <a:avLst/>
          </a:prstGeom>
        </p:spPr>
        <p:txBody>
          <a:bodyPr vert="horz" lIns="76117" tIns="38058" rIns="76117" bIns="38058" rtlCol="0" anchor="ctr">
            <a:noAutofit/>
          </a:bodyPr>
          <a:lstStyle/>
          <a:p>
            <a:pPr lvl="0"/>
            <a:r>
              <a:rPr lang="en-US" sz="66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402737" y="3017520"/>
            <a:ext cx="507444" cy="611308"/>
          </a:xfrm>
          <a:prstGeom prst="rect">
            <a:avLst/>
          </a:prstGeom>
        </p:spPr>
        <p:txBody>
          <a:bodyPr vert="horz" lIns="76117" tIns="38058" rIns="76117" bIns="38058" rtlCol="0" anchor="ctr">
            <a:noAutofit/>
          </a:bodyPr>
          <a:lstStyle/>
          <a:p>
            <a:pPr lvl="0"/>
            <a:r>
              <a:rPr lang="en-US" sz="66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1582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980228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évkárty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828" y="2019643"/>
            <a:ext cx="7156055" cy="2713217"/>
          </a:xfrm>
        </p:spPr>
        <p:txBody>
          <a:bodyPr anchor="b">
            <a:normAutofit/>
          </a:bodyPr>
          <a:lstStyle>
            <a:lvl1pPr algn="l">
              <a:defRPr sz="3663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732860"/>
            <a:ext cx="7156055" cy="1582601"/>
          </a:xfrm>
        </p:spPr>
        <p:txBody>
          <a:bodyPr anchor="t">
            <a:normAutofit/>
          </a:bodyPr>
          <a:lstStyle>
            <a:lvl1pPr marL="0" indent="0" algn="l">
              <a:buNone/>
              <a:defRPr sz="149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583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8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9" name="Obraz 9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06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ytuł 6"/>
          <p:cNvSpPr>
            <a:spLocks noGrp="1"/>
          </p:cNvSpPr>
          <p:nvPr>
            <p:ph type="title"/>
          </p:nvPr>
        </p:nvSpPr>
        <p:spPr>
          <a:xfrm>
            <a:off x="420913" y="448072"/>
            <a:ext cx="9518400" cy="801590"/>
          </a:xfrm>
        </p:spPr>
        <p:txBody>
          <a:bodyPr/>
          <a:lstStyle/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6" name="Symbol zastępczy tekstu 5"/>
          <p:cNvSpPr>
            <a:spLocks noGrp="1"/>
          </p:cNvSpPr>
          <p:nvPr>
            <p:ph type="body" sz="quarter" idx="12"/>
          </p:nvPr>
        </p:nvSpPr>
        <p:spPr>
          <a:xfrm>
            <a:off x="420913" y="1673225"/>
            <a:ext cx="9518650" cy="1885950"/>
          </a:xfrm>
        </p:spPr>
        <p:txBody>
          <a:bodyPr>
            <a:noAutofit/>
          </a:bodyPr>
          <a:lstStyle/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  <a:p>
            <a:pPr lvl="1"/>
            <a:r>
              <a:rPr lang="en-US" dirty="0" err="1" smtClean="0"/>
              <a:t>Drug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2"/>
            <a:r>
              <a:rPr lang="en-US" dirty="0" err="1" smtClean="0"/>
              <a:t>Trzeci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3"/>
            <a:r>
              <a:rPr lang="en-US" dirty="0" err="1" smtClean="0"/>
              <a:t>Czwar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 smtClean="0"/>
          </a:p>
          <a:p>
            <a:pPr lvl="4"/>
            <a:r>
              <a:rPr lang="en-US" dirty="0" err="1" smtClean="0"/>
              <a:t>Piąty</a:t>
            </a:r>
            <a:r>
              <a:rPr lang="en-US" dirty="0" smtClean="0"/>
              <a:t> </a:t>
            </a:r>
            <a:r>
              <a:rPr lang="en-US" dirty="0" err="1" smtClean="0"/>
              <a:t>poziom</a:t>
            </a:r>
            <a:endParaRPr lang="en-US" dirty="0"/>
          </a:p>
        </p:txBody>
      </p:sp>
      <p:sp>
        <p:nvSpPr>
          <p:cNvPr id="11" name="Symbol zastępczy stopki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ymbol zastępczy numeru slajdu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26DF0520-521A-4AEB-B51A-F49F693AE86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630365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évkártya idéze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5263" y="637258"/>
            <a:ext cx="6737735" cy="3159736"/>
          </a:xfrm>
        </p:spPr>
        <p:txBody>
          <a:bodyPr anchor="ctr">
            <a:normAutofit/>
          </a:bodyPr>
          <a:lstStyle>
            <a:lvl1pPr algn="l">
              <a:defRPr sz="3663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3826" y="4195280"/>
            <a:ext cx="7156056" cy="53758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998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0573" indent="0">
              <a:buFontTx/>
              <a:buNone/>
              <a:defRPr/>
            </a:lvl2pPr>
            <a:lvl3pPr marL="761147" indent="0">
              <a:buFontTx/>
              <a:buNone/>
              <a:defRPr/>
            </a:lvl3pPr>
            <a:lvl4pPr marL="1141720" indent="0">
              <a:buFontTx/>
              <a:buNone/>
              <a:defRPr/>
            </a:lvl4pPr>
            <a:lvl5pPr marL="1522293" indent="0">
              <a:buFontTx/>
              <a:buNone/>
              <a:defRPr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732860"/>
            <a:ext cx="7156055" cy="1582601"/>
          </a:xfrm>
        </p:spPr>
        <p:txBody>
          <a:bodyPr anchor="t">
            <a:normAutofit/>
          </a:bodyPr>
          <a:lstStyle>
            <a:lvl1pPr marL="0" indent="0" algn="l">
              <a:buNone/>
              <a:defRPr sz="14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451065" y="826237"/>
            <a:ext cx="507444" cy="611308"/>
          </a:xfrm>
          <a:prstGeom prst="rect">
            <a:avLst/>
          </a:prstGeom>
        </p:spPr>
        <p:txBody>
          <a:bodyPr vert="horz" lIns="76117" tIns="38058" rIns="76117" bIns="38058" rtlCol="0" anchor="ctr">
            <a:noAutofit/>
          </a:bodyPr>
          <a:lstStyle/>
          <a:p>
            <a:pPr lvl="0"/>
            <a:r>
              <a:rPr lang="en-US" sz="66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402737" y="3017520"/>
            <a:ext cx="507444" cy="611308"/>
          </a:xfrm>
          <a:prstGeom prst="rect">
            <a:avLst/>
          </a:prstGeom>
        </p:spPr>
        <p:txBody>
          <a:bodyPr vert="horz" lIns="76117" tIns="38058" rIns="76117" bIns="38058" rtlCol="0" anchor="ctr">
            <a:noAutofit/>
          </a:bodyPr>
          <a:lstStyle/>
          <a:p>
            <a:pPr lvl="0"/>
            <a:r>
              <a:rPr lang="en-US" sz="6659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758911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gaz vagy ham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875" y="637258"/>
            <a:ext cx="7149008" cy="3159736"/>
          </a:xfrm>
        </p:spPr>
        <p:txBody>
          <a:bodyPr anchor="ctr">
            <a:normAutofit/>
          </a:bodyPr>
          <a:lstStyle>
            <a:lvl1pPr algn="l">
              <a:defRPr sz="3663" b="0" cap="none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63826" y="4195280"/>
            <a:ext cx="7156056" cy="53758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998">
                <a:solidFill>
                  <a:schemeClr val="accent1"/>
                </a:solidFill>
              </a:defRPr>
            </a:lvl1pPr>
            <a:lvl2pPr marL="380573" indent="0">
              <a:buFontTx/>
              <a:buNone/>
              <a:defRPr/>
            </a:lvl2pPr>
            <a:lvl3pPr marL="761147" indent="0">
              <a:buFontTx/>
              <a:buNone/>
              <a:defRPr/>
            </a:lvl3pPr>
            <a:lvl4pPr marL="1141720" indent="0">
              <a:buFontTx/>
              <a:buNone/>
              <a:defRPr/>
            </a:lvl4pPr>
            <a:lvl5pPr marL="1522293" indent="0">
              <a:buFontTx/>
              <a:buNone/>
              <a:defRPr/>
            </a:lvl5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4732860"/>
            <a:ext cx="7156055" cy="1582601"/>
          </a:xfrm>
        </p:spPr>
        <p:txBody>
          <a:bodyPr anchor="t">
            <a:normAutofit/>
          </a:bodyPr>
          <a:lstStyle>
            <a:lvl1pPr marL="0" indent="0" algn="l">
              <a:buNone/>
              <a:defRPr sz="1498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80573" indent="0">
              <a:buNone/>
              <a:defRPr sz="1498">
                <a:solidFill>
                  <a:schemeClr val="tx1">
                    <a:tint val="75000"/>
                  </a:schemeClr>
                </a:solidFill>
              </a:defRPr>
            </a:lvl2pPr>
            <a:lvl3pPr marL="761147" indent="0">
              <a:buNone/>
              <a:defRPr sz="1332">
                <a:solidFill>
                  <a:schemeClr val="tx1">
                    <a:tint val="75000"/>
                  </a:schemeClr>
                </a:solidFill>
              </a:defRPr>
            </a:lvl3pPr>
            <a:lvl4pPr marL="114172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4pPr>
            <a:lvl5pPr marL="152229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5pPr>
            <a:lvl6pPr marL="190286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6pPr>
            <a:lvl7pPr marL="2283440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7pPr>
            <a:lvl8pPr marL="2664013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8pPr>
            <a:lvl9pPr marL="3044586" indent="0">
              <a:buNone/>
              <a:defRPr sz="116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0255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9783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32466" y="637257"/>
            <a:ext cx="1086097" cy="5489711"/>
          </a:xfrm>
        </p:spPr>
        <p:txBody>
          <a:bodyPr vert="eaVert" anchor="ctr"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3828" y="637258"/>
            <a:ext cx="5877024" cy="5489710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0722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59"/>
          <p:cNvSpPr>
            <a:spLocks noChangeShapeType="1"/>
          </p:cNvSpPr>
          <p:nvPr userDrawn="1"/>
        </p:nvSpPr>
        <p:spPr bwMode="auto">
          <a:xfrm>
            <a:off x="2436791" y="2967231"/>
            <a:ext cx="0" cy="1143414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>
            <a:normAutofit fontScale="25000" lnSpcReduction="20000"/>
          </a:bodyPr>
          <a:lstStyle/>
          <a:p>
            <a:endParaRPr lang="en-US" sz="749" noProof="0" dirty="0"/>
          </a:p>
        </p:txBody>
      </p:sp>
      <p:sp>
        <p:nvSpPr>
          <p:cNvPr id="7" name="Line 59"/>
          <p:cNvSpPr>
            <a:spLocks noChangeShapeType="1"/>
          </p:cNvSpPr>
          <p:nvPr userDrawn="1"/>
        </p:nvSpPr>
        <p:spPr bwMode="auto">
          <a:xfrm>
            <a:off x="2436791" y="6248114"/>
            <a:ext cx="0" cy="345181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>
            <a:normAutofit fontScale="25000" lnSpcReduction="20000"/>
          </a:bodyPr>
          <a:lstStyle/>
          <a:p>
            <a:endParaRPr lang="en-US" sz="749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556756" y="2967231"/>
            <a:ext cx="4315920" cy="56451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de-AT" sz="2247" b="1" kern="1200" dirty="0">
                <a:solidFill>
                  <a:srgbClr val="00703C"/>
                </a:solidFill>
                <a:latin typeface="+mj-lt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Presentation Title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557045" y="3531750"/>
            <a:ext cx="4315631" cy="5788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de-AT" sz="1748" b="1" kern="1200" dirty="0">
                <a:solidFill>
                  <a:srgbClr val="00703C"/>
                </a:solidFill>
                <a:latin typeface="+mn-lt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Subtitl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2" hasCustomPrompt="1"/>
          </p:nvPr>
        </p:nvSpPr>
        <p:spPr>
          <a:xfrm>
            <a:off x="2567209" y="6248114"/>
            <a:ext cx="1678267" cy="3451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FontTx/>
              <a:buNone/>
              <a:defRPr lang="de-AT" sz="999" kern="1200" dirty="0">
                <a:solidFill>
                  <a:srgbClr val="00703C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 lvl="0"/>
            <a:r>
              <a:rPr lang="en-US" noProof="0" dirty="0" smtClean="0"/>
              <a:t>Da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14613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на фоне">
    <p:bg>
      <p:bgPr>
        <a:gradFill>
          <a:gsLst>
            <a:gs pos="95000">
              <a:schemeClr val="accent2">
                <a:alpha val="70000"/>
              </a:schemeClr>
            </a:gs>
            <a:gs pos="5000">
              <a:schemeClr val="accent6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0148888" cy="7169150"/>
          </a:xfrm>
          <a:prstGeom prst="rect">
            <a:avLst/>
          </a:prstGeom>
          <a:solidFill>
            <a:schemeClr val="accent1"/>
          </a:solidFill>
        </p:spPr>
        <p:txBody>
          <a:bodyPr rtlCol="0"/>
          <a:lstStyle>
            <a:lvl1pPr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Background picture</a:t>
            </a:r>
            <a:endParaRPr lang="en-US" dirty="0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488944" y="2192234"/>
            <a:ext cx="8481193" cy="601832"/>
          </a:xfrm>
          <a:prstGeom prst="rect">
            <a:avLst/>
          </a:prstGeom>
        </p:spPr>
        <p:txBody>
          <a:bodyPr rtlCol="0" anchor="t" anchorCtr="0">
            <a:spAutoFit/>
          </a:bodyPr>
          <a:lstStyle>
            <a:lvl1pPr>
              <a:lnSpc>
                <a:spcPct val="90000"/>
              </a:lnSpc>
              <a:defRPr sz="3663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8944" y="4542122"/>
            <a:ext cx="6294160" cy="369075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defRPr lang="en-US" sz="1998" b="0" i="0" kern="1200" cap="none" baseline="0">
                <a:solidFill>
                  <a:schemeClr val="bg1"/>
                </a:solidFill>
                <a:latin typeface="Arial" charset="0"/>
                <a:ea typeface="Calibri" charset="0"/>
                <a:cs typeface="Calibri" charset="0"/>
              </a:defRPr>
            </a:lvl1pPr>
            <a:lvl2pPr marL="0" marR="0" indent="0" algn="l" defTabSz="76114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076" y="704357"/>
            <a:ext cx="1656403" cy="39176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9985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под градиентом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0800000">
            <a:off x="-4369" y="0"/>
            <a:ext cx="10153257" cy="7169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488944" y="2192234"/>
            <a:ext cx="8481192" cy="601832"/>
          </a:xfrm>
          <a:prstGeom prst="rect">
            <a:avLst/>
          </a:prstGeom>
        </p:spPr>
        <p:txBody>
          <a:bodyPr rtlCol="0" anchor="t" anchorCtr="0">
            <a:spAutoFit/>
          </a:bodyPr>
          <a:lstStyle>
            <a:lvl1pPr rtl="0">
              <a:lnSpc>
                <a:spcPct val="90000"/>
              </a:lnSpc>
              <a:defRPr sz="3663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8944" y="4542122"/>
            <a:ext cx="6294159" cy="369075"/>
          </a:xfrm>
          <a:prstGeom prst="rect">
            <a:avLst/>
          </a:prstGeom>
        </p:spPr>
        <p:txBody>
          <a:bodyPr rtlCol="0">
            <a:spAutoFit/>
          </a:bodyPr>
          <a:lstStyle>
            <a:lvl1pPr rtl="0">
              <a:defRPr lang="en-US" sz="1998" b="0" i="0" kern="1200" cap="none" baseline="0">
                <a:solidFill>
                  <a:schemeClr val="bg1"/>
                </a:solidFill>
                <a:latin typeface="Arial" charset="0"/>
                <a:ea typeface="Calibri" charset="0"/>
                <a:cs typeface="Calibri" charset="0"/>
              </a:defRPr>
            </a:lvl1pPr>
            <a:lvl2pPr marL="0" marR="0" indent="0" algn="l" defTabSz="76114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076" y="704357"/>
            <a:ext cx="1656403" cy="391760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8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7" y="88652"/>
            <a:ext cx="10148888" cy="725896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903201"/>
            <a:ext cx="10148888" cy="61906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156276" y="1325961"/>
            <a:ext cx="8413809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56276" y="2727783"/>
            <a:ext cx="8413809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156276" y="4129605"/>
            <a:ext cx="8413809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156276" y="5531427"/>
            <a:ext cx="8413809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0992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 2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7" y="88652"/>
            <a:ext cx="10148888" cy="725896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903201"/>
            <a:ext cx="10148888" cy="61906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156276" y="1325961"/>
            <a:ext cx="8413809" cy="1391311"/>
          </a:xfrm>
          <a:prstGeom prst="rect">
            <a:avLst/>
          </a:prstGeom>
        </p:spPr>
        <p:txBody>
          <a:bodyPr rtlCol="0" anchor="ctr"/>
          <a:lstStyle>
            <a:lvl1pPr>
              <a:defRPr sz="2997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156276" y="3190124"/>
            <a:ext cx="8413809" cy="1391311"/>
          </a:xfrm>
          <a:prstGeom prst="rect">
            <a:avLst/>
          </a:prstGeom>
        </p:spPr>
        <p:txBody>
          <a:bodyPr rtlCol="0" anchor="ctr"/>
          <a:lstStyle>
            <a:lvl1pPr>
              <a:defRPr sz="2997"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156276" y="5054286"/>
            <a:ext cx="8413809" cy="1391311"/>
          </a:xfrm>
          <a:prstGeom prst="rect">
            <a:avLst/>
          </a:prstGeom>
        </p:spPr>
        <p:txBody>
          <a:bodyPr rtlCol="0" anchor="ctr"/>
          <a:lstStyle>
            <a:lvl1pPr>
              <a:defRPr sz="2997"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92935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 с аватар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7" y="88652"/>
            <a:ext cx="10148888" cy="725896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903201"/>
            <a:ext cx="10148888" cy="61906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529448" y="1325961"/>
            <a:ext cx="8040637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529448" y="2727783"/>
            <a:ext cx="8040637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529448" y="4129605"/>
            <a:ext cx="8040637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529448" y="5531427"/>
            <a:ext cx="8040637" cy="914170"/>
          </a:xfrm>
          <a:prstGeom prst="rect">
            <a:avLst/>
          </a:prstGeom>
        </p:spPr>
        <p:txBody>
          <a:bodyPr rtlCol="0" anchor="ctr"/>
          <a:lstStyle>
            <a:lvl1pPr>
              <a:defRPr b="0" i="0">
                <a:solidFill>
                  <a:schemeClr val="bg1">
                    <a:alpha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578803" y="1325961"/>
            <a:ext cx="728203" cy="914170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578803" y="2727783"/>
            <a:ext cx="728203" cy="914170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78803" y="4129605"/>
            <a:ext cx="728203" cy="914170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578803" y="5531427"/>
            <a:ext cx="728203" cy="914170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8327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6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7" name="Obraz 9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9688"/>
            <a:ext cx="10150475" cy="129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rostokąt 11"/>
          <p:cNvSpPr/>
          <p:nvPr userDrawn="1"/>
        </p:nvSpPr>
        <p:spPr bwMode="auto">
          <a:xfrm>
            <a:off x="3343275" y="4283075"/>
            <a:ext cx="361950" cy="361950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552825" y="4523192"/>
            <a:ext cx="5875422" cy="615553"/>
          </a:xfr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lang="pl-PL" sz="4000" cap="none" baseline="0"/>
            </a:lvl1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3552826" y="3667403"/>
            <a:ext cx="5875422" cy="338554"/>
          </a:xfrm>
          <a:prstGeom prst="rect">
            <a:avLst/>
          </a:prstGeom>
          <a:noFill/>
        </p:spPr>
        <p:txBody>
          <a:bodyPr rtlCol="0" anchor="b">
            <a:noAutofit/>
          </a:bodyPr>
          <a:lstStyle>
            <a:lvl1pPr>
              <a:defRPr lang="pl-PL" sz="2000" b="0" smtClean="0"/>
            </a:lvl1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</p:txBody>
      </p:sp>
      <p:sp>
        <p:nvSpPr>
          <p:cNvPr id="10" name="Symbol zastępczy stop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950A58F-9826-43A1-9EDD-D090FD84D9D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8774786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аватар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88944" y="0"/>
            <a:ext cx="7663551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88944" cy="914170"/>
          </a:xfrm>
          <a:prstGeom prst="rect">
            <a:avLst/>
          </a:prstGeom>
          <a:solidFill>
            <a:schemeClr val="accent1"/>
          </a:solidFill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 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520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с вымпе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4744320" y="297582"/>
            <a:ext cx="660245" cy="2717008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2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715939" y="2052390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4744318" y="3036069"/>
            <a:ext cx="660245" cy="2717004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5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715939" y="4790874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7881462" y="297581"/>
            <a:ext cx="660245" cy="2717008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3</a:t>
            </a:r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853080" y="2052389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7881460" y="3036068"/>
            <a:ext cx="660245" cy="2717004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6</a:t>
            </a:r>
            <a:endParaRPr lang="en-US" dirty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853080" y="4790873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1" hasCustomPrompt="1"/>
          </p:nvPr>
        </p:nvSpPr>
        <p:spPr>
          <a:xfrm rot="5400000">
            <a:off x="1607186" y="297583"/>
            <a:ext cx="660245" cy="2717008"/>
          </a:xfrm>
          <a:prstGeom prst="homePlate">
            <a:avLst>
              <a:gd name="adj" fmla="val 45750"/>
            </a:avLst>
          </a:prstGeom>
          <a:solidFill>
            <a:schemeClr val="accent1"/>
          </a:solidFill>
        </p:spPr>
        <p:txBody>
          <a:bodyPr vert="vert270" rtlCol="0" anchor="ctr"/>
          <a:lstStyle>
            <a:lvl1pPr algn="ctr">
              <a:defRPr sz="1998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1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578804" y="2052391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1607184" y="3036070"/>
            <a:ext cx="660245" cy="2717004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de-DE" dirty="0" smtClean="0"/>
              <a:t>Chapter 4</a:t>
            </a:r>
            <a:endParaRPr lang="en-US" dirty="0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24"/>
          </p:nvPr>
        </p:nvSpPr>
        <p:spPr>
          <a:xfrm>
            <a:off x="578804" y="4790875"/>
            <a:ext cx="2717004" cy="70724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 marL="0" indent="0">
              <a:lnSpc>
                <a:spcPct val="100000"/>
              </a:lnSpc>
              <a:spcBef>
                <a:spcPts val="250"/>
              </a:spcBef>
              <a:buFont typeface="Wingdings" charset="2"/>
              <a:buNone/>
              <a:defRPr sz="1998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10276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квадр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28816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78804" y="1429880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84274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074444" y="1428672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7637" y="2122206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842743" y="2122206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28816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578804" y="3164117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584274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5074444" y="3164117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7637" y="3857650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842743" y="3857650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28816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9" hasCustomPrompt="1"/>
          </p:nvPr>
        </p:nvSpPr>
        <p:spPr>
          <a:xfrm>
            <a:off x="578804" y="4898354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584274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5074444" y="4898354"/>
            <a:ext cx="479694" cy="602133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287637" y="5591887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5842743" y="5591887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285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ромб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4" y="1422043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047965" y="1422043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54" hasCustomPrompt="1"/>
          </p:nvPr>
        </p:nvSpPr>
        <p:spPr>
          <a:xfrm>
            <a:off x="488944" y="3163588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55" hasCustomPrompt="1"/>
          </p:nvPr>
        </p:nvSpPr>
        <p:spPr>
          <a:xfrm>
            <a:off x="5047965" y="3163588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57" hasCustomPrompt="1"/>
          </p:nvPr>
        </p:nvSpPr>
        <p:spPr>
          <a:xfrm>
            <a:off x="488944" y="4905133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58" hasCustomPrompt="1"/>
          </p:nvPr>
        </p:nvSpPr>
        <p:spPr>
          <a:xfrm>
            <a:off x="5047965" y="4905133"/>
            <a:ext cx="704229" cy="884383"/>
          </a:xfrm>
          <a:prstGeom prst="flowChartDecision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1998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28816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842742" y="1325961"/>
            <a:ext cx="3727342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7637" y="2122206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842742" y="2122206"/>
            <a:ext cx="3728131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28816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5842742" y="3061406"/>
            <a:ext cx="3727342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7637" y="3857650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842742" y="3857650"/>
            <a:ext cx="3728131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28816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5842742" y="4795643"/>
            <a:ext cx="3727342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287637" y="5591887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5842742" y="5591887"/>
            <a:ext cx="3728131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pic>
        <p:nvPicPr>
          <p:cNvPr id="24" name="Bild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9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032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88944" y="1251296"/>
            <a:ext cx="798692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042937" y="1251296"/>
            <a:ext cx="799118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488944" y="2988623"/>
            <a:ext cx="798692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5042937" y="2988623"/>
            <a:ext cx="799118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488944" y="4718567"/>
            <a:ext cx="798692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5042937" y="4718567"/>
            <a:ext cx="799118" cy="1175323"/>
          </a:xfrm>
          <a:prstGeom prst="rect">
            <a:avLst/>
          </a:prstGeom>
        </p:spPr>
        <p:txBody>
          <a:bodyPr tIns="0" rtlCol="0" anchor="t"/>
          <a:lstStyle>
            <a:lvl1pPr algn="ctr">
              <a:defRPr sz="5993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№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28816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842742" y="1325961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287637" y="2122206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5842743" y="2122206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28816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5842742" y="3061406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287637" y="3857650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842743" y="3857650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28816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5842742" y="4795643"/>
            <a:ext cx="3247790" cy="796244"/>
          </a:xfrm>
          <a:prstGeom prst="rect">
            <a:avLst/>
          </a:prstGeom>
        </p:spPr>
        <p:txBody>
          <a:bodyPr rtlCol="0"/>
          <a:lstStyle>
            <a:lvl1pPr>
              <a:defRPr sz="1998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6608" indent="0">
              <a:tabLst/>
              <a:defRPr sz="1332">
                <a:solidFill>
                  <a:schemeClr val="tx1"/>
                </a:solidFill>
                <a:latin typeface="+mj-lt"/>
              </a:defRPr>
            </a:lvl2pPr>
          </a:lstStyle>
          <a:p>
            <a:pPr lvl="0" rtl="0"/>
            <a:r>
              <a:rPr lang="en-US" dirty="0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287637" y="5591887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5842743" y="5591887"/>
            <a:ext cx="3248477" cy="461280"/>
          </a:xfrm>
          <a:prstGeom prst="rect">
            <a:avLst/>
          </a:prstGeom>
        </p:spPr>
        <p:txBody>
          <a:bodyPr rtlCol="0">
            <a:spAutoFit/>
          </a:bodyPr>
          <a:lstStyle>
            <a:lvl1pPr>
              <a:spcBef>
                <a:spcPts val="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332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373966" algn="l" defTabSz="761147" rtl="0" eaLnBrk="1" latinLnBrk="0" hangingPunct="1">
              <a:lnSpc>
                <a:spcPct val="90000"/>
              </a:lnSpc>
              <a:spcBef>
                <a:spcPts val="416"/>
              </a:spcBef>
              <a:buFont typeface="Arial"/>
              <a:buNone/>
              <a:tabLst/>
            </a:pPr>
            <a:r>
              <a:rPr lang="en-US" dirty="0"/>
              <a:t>Second </a:t>
            </a:r>
            <a:r>
              <a:rPr lang="ru-RU" dirty="0"/>
              <a:t/>
            </a:r>
            <a:br>
              <a:rPr lang="ru-RU" dirty="0"/>
            </a:br>
            <a:r>
              <a:rPr lang="en-US" dirty="0"/>
              <a:t>level</a:t>
            </a: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pic>
        <p:nvPicPr>
          <p:cNvPr id="24" name="Bild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8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3507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6750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78803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494592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410381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326170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241959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157748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6073537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989326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7905115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820904" y="132596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0" hasCustomPrompt="1"/>
          </p:nvPr>
        </p:nvSpPr>
        <p:spPr>
          <a:xfrm>
            <a:off x="578803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51" name="Text Placeholder 49"/>
          <p:cNvSpPr>
            <a:spLocks noGrp="1"/>
          </p:cNvSpPr>
          <p:nvPr>
            <p:ph type="body" sz="quarter" idx="21" hasCustomPrompt="1"/>
          </p:nvPr>
        </p:nvSpPr>
        <p:spPr>
          <a:xfrm>
            <a:off x="578803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53" name="Text Placeholder 49"/>
          <p:cNvSpPr>
            <a:spLocks noGrp="1"/>
          </p:cNvSpPr>
          <p:nvPr>
            <p:ph type="body" sz="quarter" idx="22" hasCustomPrompt="1"/>
          </p:nvPr>
        </p:nvSpPr>
        <p:spPr>
          <a:xfrm>
            <a:off x="1494592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54" name="Text Placeholder 49"/>
          <p:cNvSpPr>
            <a:spLocks noGrp="1"/>
          </p:cNvSpPr>
          <p:nvPr>
            <p:ph type="body" sz="quarter" idx="23" hasCustomPrompt="1"/>
          </p:nvPr>
        </p:nvSpPr>
        <p:spPr>
          <a:xfrm>
            <a:off x="1494592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55" name="Text Placeholder 49"/>
          <p:cNvSpPr>
            <a:spLocks noGrp="1"/>
          </p:cNvSpPr>
          <p:nvPr>
            <p:ph type="body" sz="quarter" idx="24" hasCustomPrompt="1"/>
          </p:nvPr>
        </p:nvSpPr>
        <p:spPr>
          <a:xfrm>
            <a:off x="2410381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56" name="Text Placeholder 49"/>
          <p:cNvSpPr>
            <a:spLocks noGrp="1"/>
          </p:cNvSpPr>
          <p:nvPr>
            <p:ph type="body" sz="quarter" idx="25" hasCustomPrompt="1"/>
          </p:nvPr>
        </p:nvSpPr>
        <p:spPr>
          <a:xfrm>
            <a:off x="2410381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57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326170" y="2266796"/>
            <a:ext cx="749179" cy="332295"/>
          </a:xfrm>
          <a:prstGeom prst="rect">
            <a:avLst/>
          </a:prstGeom>
        </p:spPr>
        <p:txBody>
          <a:bodyPr rtlCol="0"/>
          <a:lstStyle>
            <a:lvl1pPr>
              <a:spcBef>
                <a:spcPts val="0"/>
              </a:spcBef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lvl="0" rt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58" name="Text Placeholder 49"/>
          <p:cNvSpPr>
            <a:spLocks noGrp="1"/>
          </p:cNvSpPr>
          <p:nvPr>
            <p:ph type="body" sz="quarter" idx="27" hasCustomPrompt="1"/>
          </p:nvPr>
        </p:nvSpPr>
        <p:spPr>
          <a:xfrm>
            <a:off x="3326170" y="2597336"/>
            <a:ext cx="749179" cy="332295"/>
          </a:xfrm>
          <a:prstGeom prst="rect">
            <a:avLst/>
          </a:prstGeom>
        </p:spPr>
        <p:txBody>
          <a:bodyPr rtlCol="0"/>
          <a:lstStyle>
            <a:lvl1pPr>
              <a:spcBef>
                <a:spcPts val="0"/>
              </a:spcBef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lvl="0" rtl="0"/>
            <a:r>
              <a:rPr lang="en-US" dirty="0" smtClean="0"/>
              <a:t>Job title</a:t>
            </a:r>
            <a:endParaRPr lang="en-US" dirty="0"/>
          </a:p>
        </p:txBody>
      </p:sp>
      <p:sp>
        <p:nvSpPr>
          <p:cNvPr id="59" name="Text Placeholder 49"/>
          <p:cNvSpPr>
            <a:spLocks noGrp="1"/>
          </p:cNvSpPr>
          <p:nvPr>
            <p:ph type="body" sz="quarter" idx="28" hasCustomPrompt="1"/>
          </p:nvPr>
        </p:nvSpPr>
        <p:spPr>
          <a:xfrm>
            <a:off x="4241958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4241958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61" name="Text Placeholder 49"/>
          <p:cNvSpPr>
            <a:spLocks noGrp="1"/>
          </p:cNvSpPr>
          <p:nvPr>
            <p:ph type="body" sz="quarter" idx="30" hasCustomPrompt="1"/>
          </p:nvPr>
        </p:nvSpPr>
        <p:spPr>
          <a:xfrm>
            <a:off x="5157748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62" name="Text Placeholder 49"/>
          <p:cNvSpPr>
            <a:spLocks noGrp="1"/>
          </p:cNvSpPr>
          <p:nvPr>
            <p:ph type="body" sz="quarter" idx="31" hasCustomPrompt="1"/>
          </p:nvPr>
        </p:nvSpPr>
        <p:spPr>
          <a:xfrm>
            <a:off x="5157748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6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6073535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3" hasCustomPrompt="1"/>
          </p:nvPr>
        </p:nvSpPr>
        <p:spPr>
          <a:xfrm>
            <a:off x="6073535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65" name="Text Placeholder 49"/>
          <p:cNvSpPr>
            <a:spLocks noGrp="1"/>
          </p:cNvSpPr>
          <p:nvPr>
            <p:ph type="body" sz="quarter" idx="34" hasCustomPrompt="1"/>
          </p:nvPr>
        </p:nvSpPr>
        <p:spPr>
          <a:xfrm>
            <a:off x="6989324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6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6989324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67" name="Text Placeholder 49"/>
          <p:cNvSpPr>
            <a:spLocks noGrp="1"/>
          </p:cNvSpPr>
          <p:nvPr>
            <p:ph type="body" sz="quarter" idx="36" hasCustomPrompt="1"/>
          </p:nvPr>
        </p:nvSpPr>
        <p:spPr>
          <a:xfrm>
            <a:off x="7905109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7" hasCustomPrompt="1"/>
          </p:nvPr>
        </p:nvSpPr>
        <p:spPr>
          <a:xfrm>
            <a:off x="7905109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6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8820898" y="226679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70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8820898" y="259733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32" name="Picture Placeholder 2"/>
          <p:cNvSpPr>
            <a:spLocks noGrp="1"/>
          </p:cNvSpPr>
          <p:nvPr>
            <p:ph type="pic" sz="quarter" idx="40"/>
          </p:nvPr>
        </p:nvSpPr>
        <p:spPr>
          <a:xfrm>
            <a:off x="578803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3" name="Picture Placeholder 2"/>
          <p:cNvSpPr>
            <a:spLocks noGrp="1"/>
          </p:cNvSpPr>
          <p:nvPr>
            <p:ph type="pic" sz="quarter" idx="41"/>
          </p:nvPr>
        </p:nvSpPr>
        <p:spPr>
          <a:xfrm>
            <a:off x="1494592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4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2410381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5" name="Picture Placeholder 2"/>
          <p:cNvSpPr>
            <a:spLocks noGrp="1"/>
          </p:cNvSpPr>
          <p:nvPr>
            <p:ph type="pic" sz="quarter" idx="43"/>
          </p:nvPr>
        </p:nvSpPr>
        <p:spPr>
          <a:xfrm>
            <a:off x="3326170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6" name="Picture Placeholder 2"/>
          <p:cNvSpPr>
            <a:spLocks noGrp="1"/>
          </p:cNvSpPr>
          <p:nvPr>
            <p:ph type="pic" sz="quarter" idx="44"/>
          </p:nvPr>
        </p:nvSpPr>
        <p:spPr>
          <a:xfrm>
            <a:off x="4241959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7" name="Picture Placeholder 2"/>
          <p:cNvSpPr>
            <a:spLocks noGrp="1"/>
          </p:cNvSpPr>
          <p:nvPr>
            <p:ph type="pic" sz="quarter" idx="45"/>
          </p:nvPr>
        </p:nvSpPr>
        <p:spPr>
          <a:xfrm>
            <a:off x="5157748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8" name="Picture Placeholder 2"/>
          <p:cNvSpPr>
            <a:spLocks noGrp="1"/>
          </p:cNvSpPr>
          <p:nvPr>
            <p:ph type="pic" sz="quarter" idx="46"/>
          </p:nvPr>
        </p:nvSpPr>
        <p:spPr>
          <a:xfrm>
            <a:off x="6073537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39" name="Picture Placeholder 2"/>
          <p:cNvSpPr>
            <a:spLocks noGrp="1"/>
          </p:cNvSpPr>
          <p:nvPr>
            <p:ph type="pic" sz="quarter" idx="47"/>
          </p:nvPr>
        </p:nvSpPr>
        <p:spPr>
          <a:xfrm>
            <a:off x="6989326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40" name="Picture Placeholder 2"/>
          <p:cNvSpPr>
            <a:spLocks noGrp="1"/>
          </p:cNvSpPr>
          <p:nvPr>
            <p:ph type="pic" sz="quarter" idx="48"/>
          </p:nvPr>
        </p:nvSpPr>
        <p:spPr>
          <a:xfrm>
            <a:off x="7905115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41" name="Picture Placeholder 2"/>
          <p:cNvSpPr>
            <a:spLocks noGrp="1"/>
          </p:cNvSpPr>
          <p:nvPr>
            <p:ph type="pic" sz="quarter" idx="49"/>
          </p:nvPr>
        </p:nvSpPr>
        <p:spPr>
          <a:xfrm>
            <a:off x="8820904" y="4842424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42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578803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43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578803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44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1494592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45" name="Text Placeholder 49"/>
          <p:cNvSpPr>
            <a:spLocks noGrp="1"/>
          </p:cNvSpPr>
          <p:nvPr>
            <p:ph type="body" sz="quarter" idx="53" hasCustomPrompt="1"/>
          </p:nvPr>
        </p:nvSpPr>
        <p:spPr>
          <a:xfrm>
            <a:off x="1494592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46" name="Text Placeholder 49"/>
          <p:cNvSpPr>
            <a:spLocks noGrp="1"/>
          </p:cNvSpPr>
          <p:nvPr>
            <p:ph type="body" sz="quarter" idx="54" hasCustomPrompt="1"/>
          </p:nvPr>
        </p:nvSpPr>
        <p:spPr>
          <a:xfrm>
            <a:off x="2410381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47" name="Text Placeholder 49"/>
          <p:cNvSpPr>
            <a:spLocks noGrp="1"/>
          </p:cNvSpPr>
          <p:nvPr>
            <p:ph type="body" sz="quarter" idx="55" hasCustomPrompt="1"/>
          </p:nvPr>
        </p:nvSpPr>
        <p:spPr>
          <a:xfrm>
            <a:off x="2410381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48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3326170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49" name="Text Placeholder 49"/>
          <p:cNvSpPr>
            <a:spLocks noGrp="1"/>
          </p:cNvSpPr>
          <p:nvPr>
            <p:ph type="body" sz="quarter" idx="57" hasCustomPrompt="1"/>
          </p:nvPr>
        </p:nvSpPr>
        <p:spPr>
          <a:xfrm>
            <a:off x="3326170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50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4241958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51" name="Text Placeholder 49"/>
          <p:cNvSpPr>
            <a:spLocks noGrp="1"/>
          </p:cNvSpPr>
          <p:nvPr>
            <p:ph type="body" sz="quarter" idx="59" hasCustomPrompt="1"/>
          </p:nvPr>
        </p:nvSpPr>
        <p:spPr>
          <a:xfrm>
            <a:off x="4241958" y="6113798"/>
            <a:ext cx="749179" cy="332295"/>
          </a:xfrm>
          <a:prstGeom prst="rect">
            <a:avLst/>
          </a:prstGeom>
        </p:spPr>
        <p:txBody>
          <a:bodyPr rtlCol="0"/>
          <a:lstStyle>
            <a:lvl1pPr rtl="0">
              <a:spcBef>
                <a:spcPts val="0"/>
              </a:spcBef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lvl="0" rtl="0"/>
            <a:r>
              <a:rPr lang="en-US" dirty="0" smtClean="0"/>
              <a:t>Job title</a:t>
            </a:r>
            <a:endParaRPr lang="en-US" dirty="0"/>
          </a:p>
        </p:txBody>
      </p:sp>
      <p:sp>
        <p:nvSpPr>
          <p:cNvPr id="152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5157748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53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5157748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54" name="Text Placeholder 49"/>
          <p:cNvSpPr>
            <a:spLocks noGrp="1"/>
          </p:cNvSpPr>
          <p:nvPr>
            <p:ph type="body" sz="quarter" idx="62" hasCustomPrompt="1"/>
          </p:nvPr>
        </p:nvSpPr>
        <p:spPr>
          <a:xfrm>
            <a:off x="6073535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55" name="Text Placeholder 49"/>
          <p:cNvSpPr>
            <a:spLocks noGrp="1"/>
          </p:cNvSpPr>
          <p:nvPr>
            <p:ph type="body" sz="quarter" idx="63" hasCustomPrompt="1"/>
          </p:nvPr>
        </p:nvSpPr>
        <p:spPr>
          <a:xfrm>
            <a:off x="6073535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56" name="Text Placeholder 49"/>
          <p:cNvSpPr>
            <a:spLocks noGrp="1"/>
          </p:cNvSpPr>
          <p:nvPr>
            <p:ph type="body" sz="quarter" idx="64" hasCustomPrompt="1"/>
          </p:nvPr>
        </p:nvSpPr>
        <p:spPr>
          <a:xfrm>
            <a:off x="6989324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57" name="Text Placeholder 49"/>
          <p:cNvSpPr>
            <a:spLocks noGrp="1"/>
          </p:cNvSpPr>
          <p:nvPr>
            <p:ph type="body" sz="quarter" idx="65" hasCustomPrompt="1"/>
          </p:nvPr>
        </p:nvSpPr>
        <p:spPr>
          <a:xfrm>
            <a:off x="6989324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58" name="Text Placeholder 49"/>
          <p:cNvSpPr>
            <a:spLocks noGrp="1"/>
          </p:cNvSpPr>
          <p:nvPr>
            <p:ph type="body" sz="quarter" idx="66" hasCustomPrompt="1"/>
          </p:nvPr>
        </p:nvSpPr>
        <p:spPr>
          <a:xfrm>
            <a:off x="7905109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59" name="Text Placeholder 49"/>
          <p:cNvSpPr>
            <a:spLocks noGrp="1"/>
          </p:cNvSpPr>
          <p:nvPr>
            <p:ph type="body" sz="quarter" idx="67" hasCustomPrompt="1"/>
          </p:nvPr>
        </p:nvSpPr>
        <p:spPr>
          <a:xfrm>
            <a:off x="7905109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60" name="Text Placeholder 49"/>
          <p:cNvSpPr>
            <a:spLocks noGrp="1"/>
          </p:cNvSpPr>
          <p:nvPr>
            <p:ph type="body" sz="quarter" idx="68" hasCustomPrompt="1"/>
          </p:nvPr>
        </p:nvSpPr>
        <p:spPr>
          <a:xfrm>
            <a:off x="8820898" y="578325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61" name="Text Placeholder 49"/>
          <p:cNvSpPr>
            <a:spLocks noGrp="1"/>
          </p:cNvSpPr>
          <p:nvPr>
            <p:ph type="body" sz="quarter" idx="69" hasCustomPrompt="1"/>
          </p:nvPr>
        </p:nvSpPr>
        <p:spPr>
          <a:xfrm>
            <a:off x="8820898" y="6113798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62" name="Picture Placeholder 2"/>
          <p:cNvSpPr>
            <a:spLocks noGrp="1"/>
          </p:cNvSpPr>
          <p:nvPr>
            <p:ph type="pic" sz="quarter" idx="70"/>
          </p:nvPr>
        </p:nvSpPr>
        <p:spPr>
          <a:xfrm>
            <a:off x="578803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3" name="Picture Placeholder 2"/>
          <p:cNvSpPr>
            <a:spLocks noGrp="1"/>
          </p:cNvSpPr>
          <p:nvPr>
            <p:ph type="pic" sz="quarter" idx="71"/>
          </p:nvPr>
        </p:nvSpPr>
        <p:spPr>
          <a:xfrm>
            <a:off x="1494592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4" name="Picture Placeholder 2"/>
          <p:cNvSpPr>
            <a:spLocks noGrp="1"/>
          </p:cNvSpPr>
          <p:nvPr>
            <p:ph type="pic" sz="quarter" idx="72"/>
          </p:nvPr>
        </p:nvSpPr>
        <p:spPr>
          <a:xfrm>
            <a:off x="2410381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5" name="Picture Placeholder 2"/>
          <p:cNvSpPr>
            <a:spLocks noGrp="1"/>
          </p:cNvSpPr>
          <p:nvPr>
            <p:ph type="pic" sz="quarter" idx="73"/>
          </p:nvPr>
        </p:nvSpPr>
        <p:spPr>
          <a:xfrm>
            <a:off x="3326170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6" name="Picture Placeholder 2"/>
          <p:cNvSpPr>
            <a:spLocks noGrp="1"/>
          </p:cNvSpPr>
          <p:nvPr>
            <p:ph type="pic" sz="quarter" idx="74"/>
          </p:nvPr>
        </p:nvSpPr>
        <p:spPr>
          <a:xfrm>
            <a:off x="4241959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7" name="Picture Placeholder 2"/>
          <p:cNvSpPr>
            <a:spLocks noGrp="1"/>
          </p:cNvSpPr>
          <p:nvPr>
            <p:ph type="pic" sz="quarter" idx="75"/>
          </p:nvPr>
        </p:nvSpPr>
        <p:spPr>
          <a:xfrm>
            <a:off x="5157748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8" name="Picture Placeholder 2"/>
          <p:cNvSpPr>
            <a:spLocks noGrp="1"/>
          </p:cNvSpPr>
          <p:nvPr>
            <p:ph type="pic" sz="quarter" idx="76"/>
          </p:nvPr>
        </p:nvSpPr>
        <p:spPr>
          <a:xfrm>
            <a:off x="6073537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/>
              <a:t>Drag picture to placeholder or click icon to add</a:t>
            </a:r>
          </a:p>
        </p:txBody>
      </p:sp>
      <p:sp>
        <p:nvSpPr>
          <p:cNvPr id="169" name="Picture Placeholder 2"/>
          <p:cNvSpPr>
            <a:spLocks noGrp="1"/>
          </p:cNvSpPr>
          <p:nvPr>
            <p:ph type="pic" sz="quarter" idx="77"/>
          </p:nvPr>
        </p:nvSpPr>
        <p:spPr>
          <a:xfrm>
            <a:off x="6989326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70" name="Picture Placeholder 2"/>
          <p:cNvSpPr>
            <a:spLocks noGrp="1"/>
          </p:cNvSpPr>
          <p:nvPr>
            <p:ph type="pic" sz="quarter" idx="78"/>
          </p:nvPr>
        </p:nvSpPr>
        <p:spPr>
          <a:xfrm>
            <a:off x="7905115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71" name="Picture Placeholder 2"/>
          <p:cNvSpPr>
            <a:spLocks noGrp="1"/>
          </p:cNvSpPr>
          <p:nvPr>
            <p:ph type="pic" sz="quarter" idx="79"/>
          </p:nvPr>
        </p:nvSpPr>
        <p:spPr>
          <a:xfrm>
            <a:off x="8820904" y="3084193"/>
            <a:ext cx="749180" cy="940833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72" name="Text Placeholder 49"/>
          <p:cNvSpPr>
            <a:spLocks noGrp="1"/>
          </p:cNvSpPr>
          <p:nvPr>
            <p:ph type="body" sz="quarter" idx="80" hasCustomPrompt="1"/>
          </p:nvPr>
        </p:nvSpPr>
        <p:spPr>
          <a:xfrm>
            <a:off x="578803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73" name="Text Placeholder 49"/>
          <p:cNvSpPr>
            <a:spLocks noGrp="1"/>
          </p:cNvSpPr>
          <p:nvPr>
            <p:ph type="body" sz="quarter" idx="81" hasCustomPrompt="1"/>
          </p:nvPr>
        </p:nvSpPr>
        <p:spPr>
          <a:xfrm>
            <a:off x="578803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74" name="Text Placeholder 49"/>
          <p:cNvSpPr>
            <a:spLocks noGrp="1"/>
          </p:cNvSpPr>
          <p:nvPr>
            <p:ph type="body" sz="quarter" idx="82" hasCustomPrompt="1"/>
          </p:nvPr>
        </p:nvSpPr>
        <p:spPr>
          <a:xfrm>
            <a:off x="1494592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75" name="Text Placeholder 49"/>
          <p:cNvSpPr>
            <a:spLocks noGrp="1"/>
          </p:cNvSpPr>
          <p:nvPr>
            <p:ph type="body" sz="quarter" idx="83" hasCustomPrompt="1"/>
          </p:nvPr>
        </p:nvSpPr>
        <p:spPr>
          <a:xfrm>
            <a:off x="1494592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76" name="Text Placeholder 49"/>
          <p:cNvSpPr>
            <a:spLocks noGrp="1"/>
          </p:cNvSpPr>
          <p:nvPr>
            <p:ph type="body" sz="quarter" idx="84" hasCustomPrompt="1"/>
          </p:nvPr>
        </p:nvSpPr>
        <p:spPr>
          <a:xfrm>
            <a:off x="2410381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77" name="Text Placeholder 49"/>
          <p:cNvSpPr>
            <a:spLocks noGrp="1"/>
          </p:cNvSpPr>
          <p:nvPr>
            <p:ph type="body" sz="quarter" idx="85" hasCustomPrompt="1"/>
          </p:nvPr>
        </p:nvSpPr>
        <p:spPr>
          <a:xfrm>
            <a:off x="2410381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78" name="Text Placeholder 49"/>
          <p:cNvSpPr>
            <a:spLocks noGrp="1"/>
          </p:cNvSpPr>
          <p:nvPr>
            <p:ph type="body" sz="quarter" idx="86" hasCustomPrompt="1"/>
          </p:nvPr>
        </p:nvSpPr>
        <p:spPr>
          <a:xfrm>
            <a:off x="3326170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79" name="Text Placeholder 49"/>
          <p:cNvSpPr>
            <a:spLocks noGrp="1"/>
          </p:cNvSpPr>
          <p:nvPr>
            <p:ph type="body" sz="quarter" idx="87" hasCustomPrompt="1"/>
          </p:nvPr>
        </p:nvSpPr>
        <p:spPr>
          <a:xfrm>
            <a:off x="3326170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80" name="Text Placeholder 49"/>
          <p:cNvSpPr>
            <a:spLocks noGrp="1"/>
          </p:cNvSpPr>
          <p:nvPr>
            <p:ph type="body" sz="quarter" idx="88" hasCustomPrompt="1"/>
          </p:nvPr>
        </p:nvSpPr>
        <p:spPr>
          <a:xfrm>
            <a:off x="4241958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81" name="Text Placeholder 49"/>
          <p:cNvSpPr>
            <a:spLocks noGrp="1"/>
          </p:cNvSpPr>
          <p:nvPr>
            <p:ph type="body" sz="quarter" idx="89" hasCustomPrompt="1"/>
          </p:nvPr>
        </p:nvSpPr>
        <p:spPr>
          <a:xfrm>
            <a:off x="4241958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82" name="Text Placeholder 49"/>
          <p:cNvSpPr>
            <a:spLocks noGrp="1"/>
          </p:cNvSpPr>
          <p:nvPr>
            <p:ph type="body" sz="quarter" idx="90" hasCustomPrompt="1"/>
          </p:nvPr>
        </p:nvSpPr>
        <p:spPr>
          <a:xfrm>
            <a:off x="5157748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83" name="Text Placeholder 49"/>
          <p:cNvSpPr>
            <a:spLocks noGrp="1"/>
          </p:cNvSpPr>
          <p:nvPr>
            <p:ph type="body" sz="quarter" idx="91" hasCustomPrompt="1"/>
          </p:nvPr>
        </p:nvSpPr>
        <p:spPr>
          <a:xfrm>
            <a:off x="5157748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84" name="Text Placeholder 49"/>
          <p:cNvSpPr>
            <a:spLocks noGrp="1"/>
          </p:cNvSpPr>
          <p:nvPr>
            <p:ph type="body" sz="quarter" idx="92" hasCustomPrompt="1"/>
          </p:nvPr>
        </p:nvSpPr>
        <p:spPr>
          <a:xfrm>
            <a:off x="6073535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85" name="Text Placeholder 49"/>
          <p:cNvSpPr>
            <a:spLocks noGrp="1"/>
          </p:cNvSpPr>
          <p:nvPr>
            <p:ph type="body" sz="quarter" idx="93" hasCustomPrompt="1"/>
          </p:nvPr>
        </p:nvSpPr>
        <p:spPr>
          <a:xfrm>
            <a:off x="6073535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86" name="Text Placeholder 49"/>
          <p:cNvSpPr>
            <a:spLocks noGrp="1"/>
          </p:cNvSpPr>
          <p:nvPr>
            <p:ph type="body" sz="quarter" idx="94" hasCustomPrompt="1"/>
          </p:nvPr>
        </p:nvSpPr>
        <p:spPr>
          <a:xfrm>
            <a:off x="6989324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87" name="Text Placeholder 49"/>
          <p:cNvSpPr>
            <a:spLocks noGrp="1"/>
          </p:cNvSpPr>
          <p:nvPr>
            <p:ph type="body" sz="quarter" idx="95" hasCustomPrompt="1"/>
          </p:nvPr>
        </p:nvSpPr>
        <p:spPr>
          <a:xfrm>
            <a:off x="6989324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88" name="Text Placeholder 49"/>
          <p:cNvSpPr>
            <a:spLocks noGrp="1"/>
          </p:cNvSpPr>
          <p:nvPr>
            <p:ph type="body" sz="quarter" idx="96" hasCustomPrompt="1"/>
          </p:nvPr>
        </p:nvSpPr>
        <p:spPr>
          <a:xfrm>
            <a:off x="7905109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89" name="Text Placeholder 49"/>
          <p:cNvSpPr>
            <a:spLocks noGrp="1"/>
          </p:cNvSpPr>
          <p:nvPr>
            <p:ph type="body" sz="quarter" idx="97" hasCustomPrompt="1"/>
          </p:nvPr>
        </p:nvSpPr>
        <p:spPr>
          <a:xfrm>
            <a:off x="7905109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sp>
        <p:nvSpPr>
          <p:cNvPr id="190" name="Text Placeholder 49"/>
          <p:cNvSpPr>
            <a:spLocks noGrp="1"/>
          </p:cNvSpPr>
          <p:nvPr>
            <p:ph type="body" sz="quarter" idx="98" hasCustomPrompt="1"/>
          </p:nvPr>
        </p:nvSpPr>
        <p:spPr>
          <a:xfrm>
            <a:off x="8820898" y="4025027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49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Name</a:t>
            </a:r>
          </a:p>
          <a:p>
            <a:pPr lvl="0" rtl="0"/>
            <a:endParaRPr lang="en-US" dirty="0"/>
          </a:p>
        </p:txBody>
      </p:sp>
      <p:sp>
        <p:nvSpPr>
          <p:cNvPr id="191" name="Text Placeholder 49"/>
          <p:cNvSpPr>
            <a:spLocks noGrp="1"/>
          </p:cNvSpPr>
          <p:nvPr>
            <p:ph type="body" sz="quarter" idx="99" hasCustomPrompt="1"/>
          </p:nvPr>
        </p:nvSpPr>
        <p:spPr>
          <a:xfrm>
            <a:off x="8820898" y="4355566"/>
            <a:ext cx="749179" cy="332295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666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749"/>
            </a:lvl2pPr>
            <a:lvl3pPr>
              <a:defRPr sz="749"/>
            </a:lvl3pPr>
            <a:lvl4pPr>
              <a:defRPr sz="749"/>
            </a:lvl4pPr>
            <a:lvl5pPr>
              <a:defRPr sz="749"/>
            </a:lvl5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Job title</a:t>
            </a:r>
          </a:p>
          <a:p>
            <a:pPr lvl="0" rtl="0"/>
            <a:endParaRPr lang="en-US" dirty="0"/>
          </a:p>
        </p:txBody>
      </p:sp>
      <p:pic>
        <p:nvPicPr>
          <p:cNvPr id="95" name="Bild 9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0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403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фо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802" y="1096740"/>
            <a:ext cx="2658332" cy="56159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320" y="640299"/>
            <a:ext cx="4621229" cy="6528851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5108874" y="2408070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5108874" y="1325962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5108874" y="2156900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79"/>
          </p:nvPr>
        </p:nvSpPr>
        <p:spPr>
          <a:xfrm>
            <a:off x="696314" y="2066087"/>
            <a:ext cx="1641798" cy="3662595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80"/>
          </p:nvPr>
        </p:nvSpPr>
        <p:spPr>
          <a:xfrm>
            <a:off x="2402966" y="1821757"/>
            <a:ext cx="1878540" cy="4183611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7708521" y="2408070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7708521" y="1325962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7708521" y="2156900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84" hasCustomPrompt="1"/>
          </p:nvPr>
        </p:nvSpPr>
        <p:spPr>
          <a:xfrm>
            <a:off x="5108874" y="5914000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85" hasCustomPrompt="1"/>
          </p:nvPr>
        </p:nvSpPr>
        <p:spPr>
          <a:xfrm>
            <a:off x="5108874" y="4831893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86" hasCustomPrompt="1"/>
          </p:nvPr>
        </p:nvSpPr>
        <p:spPr>
          <a:xfrm>
            <a:off x="5108874" y="5662830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87" hasCustomPrompt="1"/>
          </p:nvPr>
        </p:nvSpPr>
        <p:spPr>
          <a:xfrm>
            <a:off x="7708521" y="5914000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88" hasCustomPrompt="1"/>
          </p:nvPr>
        </p:nvSpPr>
        <p:spPr>
          <a:xfrm>
            <a:off x="7708521" y="4831893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89" hasCustomPrompt="1"/>
          </p:nvPr>
        </p:nvSpPr>
        <p:spPr>
          <a:xfrm>
            <a:off x="7708521" y="5662830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90" hasCustomPrompt="1"/>
          </p:nvPr>
        </p:nvSpPr>
        <p:spPr>
          <a:xfrm>
            <a:off x="5108874" y="4161035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91" hasCustomPrompt="1"/>
          </p:nvPr>
        </p:nvSpPr>
        <p:spPr>
          <a:xfrm>
            <a:off x="5108874" y="3078927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92" hasCustomPrompt="1"/>
          </p:nvPr>
        </p:nvSpPr>
        <p:spPr>
          <a:xfrm>
            <a:off x="5108874" y="390986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93" hasCustomPrompt="1"/>
          </p:nvPr>
        </p:nvSpPr>
        <p:spPr>
          <a:xfrm>
            <a:off x="7708521" y="4161035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94" hasCustomPrompt="1"/>
          </p:nvPr>
        </p:nvSpPr>
        <p:spPr>
          <a:xfrm>
            <a:off x="7708521" y="3078927"/>
            <a:ext cx="1861563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95" hasCustomPrompt="1"/>
          </p:nvPr>
        </p:nvSpPr>
        <p:spPr>
          <a:xfrm>
            <a:off x="7708521" y="390986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pic>
        <p:nvPicPr>
          <p:cNvPr id="39" name="Bild 3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335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0661" y="1269703"/>
            <a:ext cx="7290434" cy="542908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80"/>
          </p:nvPr>
        </p:nvSpPr>
        <p:spPr>
          <a:xfrm>
            <a:off x="1018525" y="1892441"/>
            <a:ext cx="5109418" cy="4021560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Drag picture to placeholder or click icon to add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7324849" y="2408070"/>
            <a:ext cx="2245235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7324849" y="1325962"/>
            <a:ext cx="2245235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7324849" y="2156900"/>
            <a:ext cx="2245235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87" hasCustomPrompt="1"/>
          </p:nvPr>
        </p:nvSpPr>
        <p:spPr>
          <a:xfrm>
            <a:off x="7324849" y="5914000"/>
            <a:ext cx="2245235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88" hasCustomPrompt="1"/>
          </p:nvPr>
        </p:nvSpPr>
        <p:spPr>
          <a:xfrm>
            <a:off x="7324849" y="4831893"/>
            <a:ext cx="2245235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89" hasCustomPrompt="1"/>
          </p:nvPr>
        </p:nvSpPr>
        <p:spPr>
          <a:xfrm>
            <a:off x="7324849" y="5662830"/>
            <a:ext cx="2245235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93" hasCustomPrompt="1"/>
          </p:nvPr>
        </p:nvSpPr>
        <p:spPr>
          <a:xfrm>
            <a:off x="7324849" y="4161035"/>
            <a:ext cx="2245235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igure</a:t>
            </a:r>
            <a:endParaRPr lang="en-US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94" hasCustomPrompt="1"/>
          </p:nvPr>
        </p:nvSpPr>
        <p:spPr>
          <a:xfrm>
            <a:off x="7324849" y="3078927"/>
            <a:ext cx="2245235" cy="851100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95" hasCustomPrompt="1"/>
          </p:nvPr>
        </p:nvSpPr>
        <p:spPr>
          <a:xfrm>
            <a:off x="7324849" y="3909865"/>
            <a:ext cx="2245235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9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8707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6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046524" y="1322308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2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424384" y="1322308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3</a:t>
            </a:r>
            <a:endParaRPr lang="en-US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7802244" y="1322308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ndicator 4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046524" y="1669903"/>
            <a:ext cx="1767840" cy="607757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rtlCol="0" anchor="ctr"/>
          <a:lstStyle>
            <a:lvl1pPr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046524" y="2277660"/>
            <a:ext cx="1767840" cy="607757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rtlCol="0" anchor="ctr"/>
          <a:lstStyle>
            <a:lvl1pPr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046524" y="2885418"/>
            <a:ext cx="1767840" cy="781554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5424384" y="1669903"/>
            <a:ext cx="1767840" cy="607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5424384" y="2277660"/>
            <a:ext cx="1767840" cy="607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5424384" y="2885418"/>
            <a:ext cx="1767840" cy="78155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02244" y="1669903"/>
            <a:ext cx="1767840" cy="60775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02244" y="2277660"/>
            <a:ext cx="1767840" cy="60775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7802244" y="2885418"/>
            <a:ext cx="1767840" cy="78155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046524" y="4100935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6</a:t>
            </a:r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5424384" y="4100935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7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7802244" y="4100935"/>
            <a:ext cx="1767840" cy="3475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tlCol="0" anchor="t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ndicator 8</a:t>
            </a:r>
            <a:endParaRPr lang="en-US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046524" y="4448530"/>
            <a:ext cx="1767840" cy="607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046524" y="5056287"/>
            <a:ext cx="1767840" cy="607757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046524" y="5664045"/>
            <a:ext cx="1767840" cy="78155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txBody>
          <a:bodyPr rtlCol="0" anchor="ctr"/>
          <a:lstStyle>
            <a:lvl1pPr rtl="0"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5424384" y="4448530"/>
            <a:ext cx="1767840" cy="60775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5424384" y="5056287"/>
            <a:ext cx="1767840" cy="607757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5424384" y="5664045"/>
            <a:ext cx="1767840" cy="78155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rtlCol="0" anchor="ctr"/>
          <a:lstStyle>
            <a:lvl1pPr rtl="0"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802244" y="4448530"/>
            <a:ext cx="1767840" cy="607757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7802244" y="5056287"/>
            <a:ext cx="1767840" cy="607757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rtlCol="0" anchor="ctr"/>
          <a:lstStyle>
            <a:lvl1pPr rtl="0">
              <a:defRPr sz="16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7802244" y="5664045"/>
            <a:ext cx="1767840" cy="781554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rtlCol="0" anchor="ctr"/>
          <a:lstStyle>
            <a:lvl1pPr rtl="0"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53" name="Text Placeholder 8"/>
          <p:cNvSpPr>
            <a:spLocks noGrp="1"/>
          </p:cNvSpPr>
          <p:nvPr>
            <p:ph type="body" sz="quarter" idx="53" hasCustomPrompt="1"/>
          </p:nvPr>
        </p:nvSpPr>
        <p:spPr>
          <a:xfrm>
            <a:off x="488944" y="1325962"/>
            <a:ext cx="2264367" cy="5119637"/>
          </a:xfrm>
          <a:prstGeom prst="rect">
            <a:avLst/>
          </a:prstGeom>
        </p:spPr>
        <p:txBody>
          <a:bodyPr rtlCol="0" anchor="t"/>
          <a:lstStyle>
            <a:lvl1pPr algn="l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36" name="Bild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2282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stopki 4"/>
          <p:cNvSpPr>
            <a:spLocks noGrp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ymbol zastępczy numeru slajdu 5"/>
          <p:cNvSpPr>
            <a:spLocks noGrp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96E4159-D81F-43F5-A4CF-F8B739C2EDF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1899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3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2940921" y="1325963"/>
            <a:ext cx="2084648" cy="5119634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054154" y="1473665"/>
            <a:ext cx="1861563" cy="39730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2</a:t>
            </a:r>
            <a:endParaRPr lang="en-US" dirty="0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054154" y="2208659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054154" y="3354625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054154" y="4958901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6659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5213179" y="1325963"/>
            <a:ext cx="2084648" cy="5119634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5326412" y="1473665"/>
            <a:ext cx="1861563" cy="39730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3</a:t>
            </a:r>
            <a:endParaRPr lang="en-US" dirty="0"/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326412" y="2208659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5326412" y="3354625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326412" y="4958901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6659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7485436" y="1325963"/>
            <a:ext cx="2084648" cy="511963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7598670" y="1473665"/>
            <a:ext cx="1861563" cy="39730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4</a:t>
            </a:r>
            <a:endParaRPr lang="en-US" dirty="0"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598670" y="2208659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7598670" y="3354625"/>
            <a:ext cx="1861563" cy="997842"/>
          </a:xfrm>
          <a:prstGeom prst="rect">
            <a:avLst/>
          </a:prstGeom>
          <a:noFill/>
          <a:ln w="12700">
            <a:noFill/>
          </a:ln>
        </p:spPr>
        <p:txBody>
          <a:bodyPr rtlCol="0" anchor="b"/>
          <a:lstStyle>
            <a:lvl1pPr>
              <a:defRPr sz="2664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 XXX XXX</a:t>
            </a:r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7598670" y="4958901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6659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3052463" y="2207349"/>
            <a:ext cx="1861563" cy="3927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052463" y="3354625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3052463" y="4618563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lang="en-US" sz="1332" b="0" i="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324721" y="2207349"/>
            <a:ext cx="1861563" cy="3927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5324721" y="3354625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5324721" y="4618563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lang="en-US" sz="1332" b="0" i="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598670" y="2207349"/>
            <a:ext cx="1861563" cy="3927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Plan</a:t>
            </a:r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7598670" y="3354625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Fact</a:t>
            </a:r>
            <a:endParaRPr lang="en-US" dirty="0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7598670" y="4618563"/>
            <a:ext cx="1861563" cy="389218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lang="en-US" sz="1332" b="0" i="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lvl="0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</a:pPr>
            <a:r>
              <a:rPr lang="en-US" dirty="0" smtClean="0"/>
              <a:t>Deviation</a:t>
            </a:r>
            <a:endParaRPr lang="en-US" dirty="0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53" hasCustomPrompt="1"/>
          </p:nvPr>
        </p:nvSpPr>
        <p:spPr>
          <a:xfrm>
            <a:off x="488944" y="1325962"/>
            <a:ext cx="2264367" cy="5119637"/>
          </a:xfrm>
          <a:prstGeom prst="rect">
            <a:avLst/>
          </a:prstGeom>
        </p:spPr>
        <p:txBody>
          <a:bodyPr rtlCol="0" anchor="t"/>
          <a:lstStyle>
            <a:lvl1pPr algn="l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31" name="Bild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1887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1 +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1118818" y="1630884"/>
            <a:ext cx="1861563" cy="347595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1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579195" y="3068825"/>
            <a:ext cx="1546276" cy="1941841"/>
          </a:xfrm>
          <a:prstGeom prst="ellipse">
            <a:avLst/>
          </a:prstGeom>
          <a:solidFill>
            <a:schemeClr val="bg2"/>
          </a:solidFill>
        </p:spPr>
        <p:txBody>
          <a:bodyPr rtlCol="0" anchor="ctr"/>
          <a:lstStyle>
            <a:lvl1pPr algn="ctr">
              <a:defRPr sz="3996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55" hasCustomPrompt="1"/>
          </p:nvPr>
        </p:nvSpPr>
        <p:spPr>
          <a:xfrm>
            <a:off x="1925809" y="2635542"/>
            <a:ext cx="2236317" cy="2808405"/>
          </a:xfrm>
          <a:prstGeom prst="ellipse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499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792454" y="5673974"/>
            <a:ext cx="1133354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6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2477289" y="5673974"/>
            <a:ext cx="1133354" cy="26235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7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4486589" y="1630884"/>
            <a:ext cx="1405059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2</a:t>
            </a:r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4667973" y="2662900"/>
            <a:ext cx="1042291" cy="1308928"/>
          </a:xfrm>
          <a:prstGeom prst="ellipse">
            <a:avLst/>
          </a:prstGeom>
          <a:solidFill>
            <a:schemeClr val="bg2"/>
          </a:solidFill>
        </p:spPr>
        <p:txBody>
          <a:bodyPr rtlCol="0" anchor="ctr"/>
          <a:lstStyle>
            <a:lvl1pPr algn="ctr">
              <a:defRPr sz="266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4534286" y="3799251"/>
            <a:ext cx="1309664" cy="1644697"/>
          </a:xfrm>
          <a:prstGeom prst="ellipse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3330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4761405" y="221931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6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4761405" y="567397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7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6349048" y="1630884"/>
            <a:ext cx="1405059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2</a:t>
            </a:r>
            <a:endParaRPr lang="en-US" dirty="0"/>
          </a:p>
        </p:txBody>
      </p:sp>
      <p:sp>
        <p:nvSpPr>
          <p:cNvPr id="71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6396746" y="2662900"/>
            <a:ext cx="1309664" cy="1644697"/>
          </a:xfrm>
          <a:prstGeom prst="ellipse">
            <a:avLst/>
          </a:prstGeom>
          <a:solidFill>
            <a:schemeClr val="bg2"/>
          </a:solidFill>
        </p:spPr>
        <p:txBody>
          <a:bodyPr rtlCol="0" anchor="ctr"/>
          <a:lstStyle>
            <a:lvl1pPr algn="ctr">
              <a:defRPr sz="3330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70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6530432" y="4063229"/>
            <a:ext cx="1042291" cy="1308928"/>
          </a:xfrm>
          <a:prstGeom prst="ellipse">
            <a:avLst/>
          </a:prstGeom>
          <a:solidFill>
            <a:schemeClr val="accent3"/>
          </a:solidFill>
        </p:spPr>
        <p:txBody>
          <a:bodyPr rtlCol="0" anchor="ctr"/>
          <a:lstStyle>
            <a:lvl1pPr algn="ctr">
              <a:defRPr sz="266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6623865" y="221931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6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6623865" y="567397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7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8211508" y="1630884"/>
            <a:ext cx="1405059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 2</a:t>
            </a:r>
            <a:endParaRPr lang="en-US" dirty="0"/>
          </a:p>
        </p:txBody>
      </p:sp>
      <p:sp>
        <p:nvSpPr>
          <p:cNvPr id="80" name="Text Placeholder 4"/>
          <p:cNvSpPr>
            <a:spLocks noGrp="1"/>
          </p:cNvSpPr>
          <p:nvPr>
            <p:ph type="body" sz="quarter" idx="69" hasCustomPrompt="1"/>
          </p:nvPr>
        </p:nvSpPr>
        <p:spPr>
          <a:xfrm>
            <a:off x="8392892" y="2662900"/>
            <a:ext cx="1042291" cy="1308928"/>
          </a:xfrm>
          <a:prstGeom prst="ellipse">
            <a:avLst/>
          </a:prstGeom>
          <a:solidFill>
            <a:schemeClr val="bg2"/>
          </a:solidFill>
        </p:spPr>
        <p:txBody>
          <a:bodyPr rtlCol="0" anchor="ctr"/>
          <a:lstStyle>
            <a:lvl1pPr algn="ctr">
              <a:defRPr sz="266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8259206" y="3799251"/>
            <a:ext cx="1309664" cy="1644697"/>
          </a:xfrm>
          <a:prstGeom prst="ellipse">
            <a:avLst/>
          </a:prstGeom>
          <a:solidFill>
            <a:schemeClr val="accent1"/>
          </a:solidFill>
        </p:spPr>
        <p:txBody>
          <a:bodyPr rtlCol="0" anchor="ctr"/>
          <a:lstStyle>
            <a:lvl1pPr algn="ctr">
              <a:defRPr sz="3330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XXX</a:t>
            </a:r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8486325" y="221931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6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8486325" y="5673975"/>
            <a:ext cx="855426" cy="262356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algn="ctr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2017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488944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5644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8 карточ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0"/>
            <a:ext cx="10148881" cy="7096734"/>
          </a:xfrm>
          <a:prstGeom prst="rect">
            <a:avLst/>
          </a:prstGeom>
          <a:solidFill>
            <a:srgbClr val="EEF0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47" name="Rectangle 46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rgbClr val="E0E8EB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78804" y="1325963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92037" y="2639079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92037" y="1325962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ХХI</a:t>
            </a:r>
            <a:endParaRPr lang="en-US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692037" y="228248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692037" y="3214792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578804" y="3977201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692037" y="5290317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692037" y="3977200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692037" y="4933723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692037" y="5866030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881015" y="1325963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 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2994248" y="2639079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2994248" y="1325962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ХХ%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2994248" y="228248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2994248" y="3214792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+ХХХ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2881015" y="3977201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2994248" y="5290317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2994248" y="3977200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2994248" y="4933723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2994248" y="5866030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5183225" y="1325963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5296459" y="2639079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5296459" y="1325962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5296459" y="228248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5296459" y="3214792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69" hasCustomPrompt="1"/>
          </p:nvPr>
        </p:nvSpPr>
        <p:spPr>
          <a:xfrm>
            <a:off x="5183225" y="3977201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70" hasCustomPrompt="1"/>
          </p:nvPr>
        </p:nvSpPr>
        <p:spPr>
          <a:xfrm>
            <a:off x="5296459" y="5290317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5296459" y="3977200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/>
              <a:t>ХХ%</a:t>
            </a:r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5296459" y="4933723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73" hasCustomPrompt="1"/>
          </p:nvPr>
        </p:nvSpPr>
        <p:spPr>
          <a:xfrm>
            <a:off x="5296459" y="5866030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74" hasCustomPrompt="1"/>
          </p:nvPr>
        </p:nvSpPr>
        <p:spPr>
          <a:xfrm>
            <a:off x="7483711" y="1325963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7596944" y="2639079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7596944" y="1325962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7596944" y="2282485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97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7596944" y="3214792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sp>
        <p:nvSpPr>
          <p:cNvPr id="98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7483711" y="3977201"/>
            <a:ext cx="2084648" cy="2468396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rtlCol="0" anchor="ctr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99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7596944" y="5290317"/>
            <a:ext cx="1861563" cy="531597"/>
          </a:xfrm>
          <a:prstGeom prst="rect">
            <a:avLst/>
          </a:prstGeom>
          <a:ln>
            <a:noFill/>
          </a:ln>
        </p:spPr>
        <p:txBody>
          <a:bodyPr rtlCol="0" anchor="t"/>
          <a:lstStyle>
            <a:lvl1pPr rtl="0">
              <a:defRPr sz="1332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Indicator</a:t>
            </a:r>
            <a:endParaRPr lang="en-US" dirty="0"/>
          </a:p>
        </p:txBody>
      </p:sp>
      <p:sp>
        <p:nvSpPr>
          <p:cNvPr id="100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7596944" y="3977200"/>
            <a:ext cx="1861563" cy="1207693"/>
          </a:xfrm>
          <a:prstGeom prst="rect">
            <a:avLst/>
          </a:prstGeom>
          <a:noFill/>
          <a:ln w="12700">
            <a:noFill/>
          </a:ln>
        </p:spPr>
        <p:txBody>
          <a:bodyPr tIns="0" rtlCol="0" anchor="t"/>
          <a:lstStyle>
            <a:lvl1pPr>
              <a:defRPr sz="6659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ХХ%</a:t>
            </a:r>
          </a:p>
        </p:txBody>
      </p:sp>
      <p:sp>
        <p:nvSpPr>
          <p:cNvPr id="101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7596944" y="4933723"/>
            <a:ext cx="1861563" cy="251170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 rtl="0">
              <a:defRPr sz="1165" b="0" i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Unit of measurement</a:t>
            </a:r>
            <a:endParaRPr lang="en-US" dirty="0"/>
          </a:p>
        </p:txBody>
      </p:sp>
      <p:sp>
        <p:nvSpPr>
          <p:cNvPr id="102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7596944" y="5866030"/>
            <a:ext cx="1861563" cy="518259"/>
          </a:xfrm>
          <a:prstGeom prst="rect">
            <a:avLst/>
          </a:prstGeom>
          <a:noFill/>
          <a:ln w="12700">
            <a:noFill/>
          </a:ln>
        </p:spPr>
        <p:txBody>
          <a:bodyPr rtlCol="0" anchor="t"/>
          <a:lstStyle>
            <a:lvl1pPr>
              <a:defRPr sz="299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+ХХХ</a:t>
            </a:r>
          </a:p>
        </p:txBody>
      </p:sp>
      <p:pic>
        <p:nvPicPr>
          <p:cNvPr id="48" name="Bild 4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8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5789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кругах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668664" y="3144094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3505429" y="4438075"/>
            <a:ext cx="884032" cy="1110183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8193143" y="4438075"/>
            <a:ext cx="884032" cy="1110183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3505429" y="1966538"/>
            <a:ext cx="884032" cy="1110183"/>
          </a:xfrm>
          <a:prstGeom prst="ellipse">
            <a:avLst/>
          </a:prstGeom>
          <a:solidFill>
            <a:srgbClr val="00C8C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1161572" y="4438075"/>
            <a:ext cx="884032" cy="1110183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161572" y="1966538"/>
            <a:ext cx="884032" cy="1110183"/>
          </a:xfrm>
          <a:prstGeom prst="ellipse">
            <a:avLst/>
          </a:prstGeom>
          <a:solidFill>
            <a:schemeClr val="accent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5844968" y="4438075"/>
            <a:ext cx="884032" cy="1110183"/>
          </a:xfrm>
          <a:prstGeom prst="ellipse">
            <a:avLst/>
          </a:prstGeom>
          <a:solidFill>
            <a:schemeClr val="accent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5844968" y="1966538"/>
            <a:ext cx="884032" cy="1110183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8193143" y="1966538"/>
            <a:ext cx="884032" cy="1110183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668664" y="3453971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3012521" y="3144094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012521" y="3453971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5356378" y="3144094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356378" y="3453971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7700234" y="3144094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7700234" y="3453971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668664" y="5615506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668664" y="5925383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3012521" y="5615506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3012521" y="5925383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5356378" y="5615506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5356378" y="5925383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7700234" y="5615506"/>
            <a:ext cx="1869849" cy="309877"/>
          </a:xfrm>
          <a:prstGeom prst="rect">
            <a:avLst/>
          </a:prstGeom>
        </p:spPr>
        <p:txBody>
          <a:bodyPr rtlCol="0"/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7700234" y="5925383"/>
            <a:ext cx="186984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5286" indent="0" algn="ctr" rtl="0">
              <a:spcBef>
                <a:spcPts val="0"/>
              </a:spcBef>
              <a:spcAft>
                <a:spcPts val="250"/>
              </a:spcAft>
              <a:buFontTx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286" marR="0" indent="0" algn="ctr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67" hasCustomPrompt="1"/>
          </p:nvPr>
        </p:nvSpPr>
        <p:spPr>
          <a:xfrm>
            <a:off x="1292746" y="2130152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68" hasCustomPrompt="1"/>
          </p:nvPr>
        </p:nvSpPr>
        <p:spPr>
          <a:xfrm>
            <a:off x="3636603" y="2130152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69" hasCustomPrompt="1"/>
          </p:nvPr>
        </p:nvSpPr>
        <p:spPr>
          <a:xfrm>
            <a:off x="5976142" y="2130152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70" hasCustomPrompt="1"/>
          </p:nvPr>
        </p:nvSpPr>
        <p:spPr>
          <a:xfrm>
            <a:off x="8324317" y="2130152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292746" y="4605999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636603" y="4605999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5976142" y="4605999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8324317" y="4605999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496960" y="0"/>
            <a:ext cx="7491797" cy="900655"/>
          </a:xfrm>
        </p:spPr>
        <p:txBody>
          <a:bodyPr rtlCol="0" anchor="ctr"/>
          <a:lstStyle>
            <a:lvl1pPr>
              <a:defRPr sz="1831"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42" name="Bild 4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3414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ромб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799095" y="3219622"/>
            <a:ext cx="1071636" cy="1334245"/>
          </a:xfrm>
          <a:prstGeom prst="diamond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6167726" y="3219622"/>
            <a:ext cx="1071636" cy="1334245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536358" y="3219622"/>
            <a:ext cx="1071636" cy="1334245"/>
          </a:xfrm>
          <a:prstGeom prst="diamond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904989" y="3219622"/>
            <a:ext cx="1071636" cy="1334245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269082" y="3219622"/>
            <a:ext cx="1071636" cy="1334245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88945" y="1325962"/>
            <a:ext cx="2631913" cy="468555"/>
          </a:xfrm>
          <a:prstGeom prst="rect">
            <a:avLst/>
          </a:prstGeom>
        </p:spPr>
        <p:txBody>
          <a:bodyPr rtlCol="0"/>
          <a:lstStyle>
            <a:lvl1pPr marL="261644" indent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488945" y="1794516"/>
            <a:ext cx="2631913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853164" y="1325962"/>
            <a:ext cx="2438024" cy="468555"/>
          </a:xfrm>
          <a:prstGeom prst="rect">
            <a:avLst/>
          </a:prstGeom>
        </p:spPr>
        <p:txBody>
          <a:bodyPr rtlCol="0"/>
          <a:lstStyle>
            <a:lvl1pPr marL="261644" indent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3853164" y="1794516"/>
            <a:ext cx="2438024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307959" y="1325962"/>
            <a:ext cx="2262125" cy="468555"/>
          </a:xfrm>
          <a:prstGeom prst="rect">
            <a:avLst/>
          </a:prstGeom>
        </p:spPr>
        <p:txBody>
          <a:bodyPr rtlCol="0"/>
          <a:lstStyle>
            <a:lvl1pPr marL="261644" indent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7307959" y="1794516"/>
            <a:ext cx="2262125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2221795" y="4955415"/>
            <a:ext cx="2438024" cy="468555"/>
          </a:xfrm>
          <a:prstGeom prst="rect">
            <a:avLst/>
          </a:prstGeom>
        </p:spPr>
        <p:txBody>
          <a:bodyPr rtlCol="0"/>
          <a:lstStyle>
            <a:lvl1pPr marL="261644" indent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2221795" y="5423969"/>
            <a:ext cx="2438024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3786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Wingdings" charset="2"/>
              <a:buNone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marL="261644" marR="0" lvl="0" indent="-237858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5489851" y="4955415"/>
            <a:ext cx="2438024" cy="468555"/>
          </a:xfrm>
          <a:prstGeom prst="rect">
            <a:avLst/>
          </a:prstGeom>
        </p:spPr>
        <p:txBody>
          <a:bodyPr rtlCol="0"/>
          <a:lstStyle>
            <a:lvl1pPr marL="261644" indent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4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5489851" y="5423969"/>
            <a:ext cx="2438024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434181" y="3419834"/>
            <a:ext cx="741437" cy="933819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070088" y="3419834"/>
            <a:ext cx="741437" cy="933819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4701456" y="3419834"/>
            <a:ext cx="741437" cy="933819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6332825" y="3419834"/>
            <a:ext cx="741437" cy="933819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7961925" y="3419834"/>
            <a:ext cx="741437" cy="933819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6887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круг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305040" y="2805702"/>
            <a:ext cx="1720117" cy="2160153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5759691" y="2805702"/>
            <a:ext cx="1720117" cy="2160153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214344" y="2805702"/>
            <a:ext cx="1720117" cy="2160153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668997" y="2805702"/>
            <a:ext cx="1720117" cy="2160153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123650" y="2805702"/>
            <a:ext cx="1720117" cy="2160153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622224" y="1325961"/>
            <a:ext cx="2365354" cy="419785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622224" y="1745747"/>
            <a:ext cx="2365354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3976625" y="1325961"/>
            <a:ext cx="2195639" cy="419785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3976625" y="1745747"/>
            <a:ext cx="219563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7237093" y="1325961"/>
            <a:ext cx="2033018" cy="419785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237093" y="1745747"/>
            <a:ext cx="2033018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5607993" y="5208166"/>
            <a:ext cx="2195639" cy="419785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4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5607993" y="5627951"/>
            <a:ext cx="219563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340718" y="5208166"/>
            <a:ext cx="2195639" cy="419785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340718" y="5627951"/>
            <a:ext cx="219563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498120" y="3274193"/>
            <a:ext cx="971177" cy="1223171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043467" y="3274193"/>
            <a:ext cx="971177" cy="1223171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4588813" y="3275209"/>
            <a:ext cx="971177" cy="1223171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6134161" y="3275209"/>
            <a:ext cx="971177" cy="1223171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7679510" y="3275209"/>
            <a:ext cx="971177" cy="1223171"/>
          </a:xfrm>
          <a:prstGeom prst="rect">
            <a:avLst/>
          </a:prstGeom>
        </p:spPr>
        <p:txBody>
          <a:bodyPr rtlCol="0" anchor="ctr"/>
          <a:lstStyle>
            <a:lvl1pPr algn="ctr" rtl="0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3692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конки в круг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7588392" y="1335459"/>
            <a:ext cx="1947867" cy="2446167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rtlCol="0" anchor="ctr"/>
          <a:lstStyle>
            <a:lvl1pPr marL="56492" indent="0" algn="l">
              <a:tabLst/>
              <a:defRPr sz="1124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5844667" y="1335459"/>
            <a:ext cx="1947867" cy="2446167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56492" indent="0" algn="l">
              <a:tabLst/>
              <a:defRPr sz="1124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100941" y="1335459"/>
            <a:ext cx="1947867" cy="2446167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rtlCol="0" anchor="ctr"/>
          <a:lstStyle>
            <a:lvl1pPr marL="56492" indent="0" algn="l">
              <a:tabLst/>
              <a:defRPr sz="1124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357215" y="1335459"/>
            <a:ext cx="1947867" cy="2446167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56492" indent="0" algn="l">
              <a:tabLst/>
              <a:defRPr sz="1124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613489" y="1335459"/>
            <a:ext cx="1947867" cy="2446167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56492" indent="0" algn="l">
              <a:tabLst/>
              <a:defRPr sz="1124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579686" y="4160293"/>
            <a:ext cx="1703814" cy="288988"/>
          </a:xfrm>
          <a:prstGeom prst="rect">
            <a:avLst/>
          </a:prstGeom>
        </p:spPr>
        <p:txBody>
          <a:bodyPr rtlCol="0"/>
          <a:lstStyle>
            <a:lvl1pPr marL="196233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7"/>
              </a:spcAft>
              <a:buClrTx/>
              <a:buSzTx/>
              <a:buFont typeface="Arial"/>
              <a:buNone/>
              <a:tabLst/>
              <a:defRPr sz="1498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marL="196233" marR="0" lvl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87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Subtitle</a:t>
            </a:r>
          </a:p>
          <a:p>
            <a:pPr lvl="0" rtl="0"/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579686" y="4487311"/>
            <a:ext cx="1703814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196233" indent="-178394" rtl="0">
              <a:spcBef>
                <a:spcPts val="0"/>
              </a:spcBef>
              <a:spcAft>
                <a:spcPts val="187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449452" y="4173292"/>
            <a:ext cx="1654631" cy="275991"/>
          </a:xfrm>
          <a:prstGeom prst="rect">
            <a:avLst/>
          </a:prstGeom>
        </p:spPr>
        <p:txBody>
          <a:bodyPr rtlCol="0"/>
          <a:lstStyle>
            <a:lvl1pPr marL="70036" indent="0" algn="l" rtl="0">
              <a:spcBef>
                <a:spcPts val="0"/>
              </a:spcBef>
              <a:spcAft>
                <a:spcPts val="187"/>
              </a:spcAft>
              <a:tabLst/>
              <a:defRPr sz="1498" b="0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449454" y="4500308"/>
            <a:ext cx="165462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196233" indent="-178394" rtl="0">
              <a:spcBef>
                <a:spcPts val="0"/>
              </a:spcBef>
              <a:spcAft>
                <a:spcPts val="187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032758" y="2017922"/>
            <a:ext cx="1091421" cy="1081241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7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2776484" y="2017922"/>
            <a:ext cx="1091421" cy="1081241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7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4520209" y="2017922"/>
            <a:ext cx="1091421" cy="1081241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7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6263935" y="2017922"/>
            <a:ext cx="1091421" cy="1081241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7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8007660" y="2017922"/>
            <a:ext cx="1091421" cy="1081241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74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488945" y="2"/>
            <a:ext cx="7422256" cy="903198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6090616" y="4160295"/>
            <a:ext cx="1654631" cy="275991"/>
          </a:xfrm>
          <a:prstGeom prst="rect">
            <a:avLst/>
          </a:prstGeom>
        </p:spPr>
        <p:txBody>
          <a:bodyPr rtlCol="0"/>
          <a:lstStyle>
            <a:lvl1pPr marL="70036" indent="0" algn="l" rtl="0">
              <a:spcBef>
                <a:spcPts val="0"/>
              </a:spcBef>
              <a:spcAft>
                <a:spcPts val="187"/>
              </a:spcAft>
              <a:tabLst/>
              <a:defRPr sz="1498" b="0" i="0" cap="none" baseline="0">
                <a:solidFill>
                  <a:schemeClr val="accent4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smtClean="0"/>
              <a:t>Subtitle</a:t>
            </a:r>
            <a:endParaRPr lang="en-US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6090619" y="4487311"/>
            <a:ext cx="165462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196233" indent="-178394" rtl="0">
              <a:spcBef>
                <a:spcPts val="0"/>
              </a:spcBef>
              <a:spcAft>
                <a:spcPts val="187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7911201" y="4173292"/>
            <a:ext cx="1654631" cy="275991"/>
          </a:xfrm>
          <a:prstGeom prst="rect">
            <a:avLst/>
          </a:prstGeom>
        </p:spPr>
        <p:txBody>
          <a:bodyPr rtlCol="0"/>
          <a:lstStyle>
            <a:lvl1pPr marL="70036" indent="0" algn="l" rtl="0">
              <a:spcBef>
                <a:spcPts val="0"/>
              </a:spcBef>
              <a:spcAft>
                <a:spcPts val="187"/>
              </a:spcAft>
              <a:tabLst/>
              <a:defRPr sz="1498" b="0" i="0" cap="none" baseline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7911202" y="4500308"/>
            <a:ext cx="165462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196233" indent="-178394" rtl="0">
              <a:spcBef>
                <a:spcPts val="0"/>
              </a:spcBef>
              <a:spcAft>
                <a:spcPts val="187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4270034" y="4160295"/>
            <a:ext cx="1654631" cy="275991"/>
          </a:xfrm>
          <a:prstGeom prst="rect">
            <a:avLst/>
          </a:prstGeom>
        </p:spPr>
        <p:txBody>
          <a:bodyPr rtlCol="0"/>
          <a:lstStyle>
            <a:lvl1pPr marL="70036" indent="0" algn="l" rtl="0">
              <a:spcBef>
                <a:spcPts val="0"/>
              </a:spcBef>
              <a:spcAft>
                <a:spcPts val="187"/>
              </a:spcAft>
              <a:tabLst/>
              <a:defRPr sz="1498" b="0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4270036" y="4487311"/>
            <a:ext cx="165462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196233" indent="-178394" rtl="0">
              <a:spcBef>
                <a:spcPts val="0"/>
              </a:spcBef>
              <a:spcAft>
                <a:spcPts val="187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69474" marR="0" indent="-165510" algn="l" defTabSz="570860" rtl="0" eaLnBrk="1" fontAlgn="auto" latinLnBrk="0" hangingPunct="1">
              <a:lnSpc>
                <a:spcPct val="90000"/>
              </a:lnSpc>
              <a:spcBef>
                <a:spcPts val="187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874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pic>
        <p:nvPicPr>
          <p:cNvPr id="25" name="Bild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3771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релки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7764213" y="1325961"/>
            <a:ext cx="2032175" cy="565899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 rtl="0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7802287" y="2305589"/>
            <a:ext cx="1767796" cy="4140009"/>
          </a:xfrm>
          <a:prstGeom prst="rect">
            <a:avLst/>
          </a:prstGeom>
        </p:spPr>
        <p:txBody>
          <a:bodyPr rtlCol="0"/>
          <a:lstStyle>
            <a:lvl1pPr marL="237858" indent="-237858">
              <a:buClrTx/>
              <a:buFont typeface="Wingdings" charset="2"/>
              <a:buChar char="§"/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 marL="618432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2pPr>
            <a:lvl3pPr marL="999005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3pPr>
            <a:lvl4pPr marL="1379578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4pPr>
            <a:lvl5pPr marL="1760151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5958342" y="1325961"/>
            <a:ext cx="2048433" cy="565899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 rtl="0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5996417" y="2305589"/>
            <a:ext cx="1767796" cy="4140009"/>
          </a:xfrm>
          <a:prstGeom prst="rect">
            <a:avLst/>
          </a:prstGeom>
        </p:spPr>
        <p:txBody>
          <a:bodyPr rtlCol="0"/>
          <a:lstStyle>
            <a:lvl1pPr marL="237858" indent="-237858">
              <a:buClrTx/>
              <a:buFont typeface="Wingdings" charset="2"/>
              <a:buChar char="§"/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 marL="618432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2pPr>
            <a:lvl3pPr marL="999005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3pPr>
            <a:lvl4pPr marL="1379578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4pPr>
            <a:lvl5pPr marL="1760151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152471" y="1325961"/>
            <a:ext cx="2067748" cy="565899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 rtl="0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4190546" y="2305589"/>
            <a:ext cx="1767796" cy="4140009"/>
          </a:xfrm>
          <a:prstGeom prst="rect">
            <a:avLst/>
          </a:prstGeom>
        </p:spPr>
        <p:txBody>
          <a:bodyPr rtlCol="0"/>
          <a:lstStyle>
            <a:lvl1pPr marL="237858" indent="-237858">
              <a:buClrTx/>
              <a:buFont typeface="Wingdings" charset="2"/>
              <a:buChar char="§"/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 marL="618432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2pPr>
            <a:lvl3pPr marL="999005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3pPr>
            <a:lvl4pPr marL="1379578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4pPr>
            <a:lvl5pPr marL="1760151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346600" y="1325961"/>
            <a:ext cx="2067747" cy="565899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 rtl="0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384675" y="2305589"/>
            <a:ext cx="1767796" cy="4140009"/>
          </a:xfrm>
          <a:prstGeom prst="rect">
            <a:avLst/>
          </a:prstGeom>
        </p:spPr>
        <p:txBody>
          <a:bodyPr rtlCol="0"/>
          <a:lstStyle>
            <a:lvl1pPr marL="237858" indent="-237858">
              <a:buClrTx/>
              <a:buFont typeface="Wingdings" charset="2"/>
              <a:buChar char="§"/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 marL="618432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2pPr>
            <a:lvl3pPr marL="999005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3pPr>
            <a:lvl4pPr marL="1379578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4pPr>
            <a:lvl5pPr marL="1760151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78804" y="1325961"/>
            <a:ext cx="2029673" cy="565899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578804" y="2305589"/>
            <a:ext cx="1767796" cy="4140009"/>
          </a:xfrm>
          <a:prstGeom prst="rect">
            <a:avLst/>
          </a:prstGeom>
        </p:spPr>
        <p:txBody>
          <a:bodyPr rtlCol="0"/>
          <a:lstStyle>
            <a:lvl1pPr marL="237858" indent="-237858">
              <a:buClrTx/>
              <a:buFont typeface="Wingdings" charset="2"/>
              <a:buChar char="§"/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 marL="618432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2pPr>
            <a:lvl3pPr marL="999005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3pPr>
            <a:lvl4pPr marL="1379578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4pPr>
            <a:lvl5pPr marL="1760151" indent="-237858">
              <a:buClr>
                <a:schemeClr val="accent2"/>
              </a:buClr>
              <a:buFont typeface="Wingdings" charset="2"/>
              <a:buChar char="§"/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8178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релки в центр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7421427" y="3594861"/>
            <a:ext cx="2148658" cy="366981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667469" y="3594861"/>
            <a:ext cx="2148658" cy="366981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990278" y="4342831"/>
            <a:ext cx="1580418" cy="533865"/>
          </a:xfrm>
          <a:prstGeom prst="borderCallout1">
            <a:avLst>
              <a:gd name="adj1" fmla="val 844"/>
              <a:gd name="adj2" fmla="val 50198"/>
              <a:gd name="adj3" fmla="val -216952"/>
              <a:gd name="adj4" fmla="val 49968"/>
            </a:avLst>
          </a:prstGeom>
          <a:ln w="25400">
            <a:solidFill>
              <a:schemeClr val="tx2"/>
            </a:solidFill>
          </a:ln>
        </p:spPr>
        <p:txBody>
          <a:bodyPr rtlCol="0" anchor="ctr"/>
          <a:lstStyle>
            <a:lvl1pPr algn="ctr" rtl="0">
              <a:defRPr sz="1498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5919332" y="1338326"/>
            <a:ext cx="1716134" cy="1830444"/>
          </a:xfrm>
          <a:prstGeom prst="rect">
            <a:avLst/>
          </a:prstGeom>
        </p:spPr>
        <p:txBody>
          <a:bodyPr rtlCol="0" anchor="b"/>
          <a:lstStyle>
            <a:lvl1pPr algn="ctr"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913510" y="3594861"/>
            <a:ext cx="2148658" cy="366981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4236319" y="2634904"/>
            <a:ext cx="1580418" cy="53386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rtlCol="0" anchor="ctr"/>
          <a:lstStyle>
            <a:lvl1pPr algn="ctr" rtl="0">
              <a:defRPr sz="1498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37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165374" y="4342830"/>
            <a:ext cx="1716134" cy="2102767"/>
          </a:xfrm>
          <a:prstGeom prst="rect">
            <a:avLst/>
          </a:prstGeom>
        </p:spPr>
        <p:txBody>
          <a:bodyPr rtlCol="0" anchor="t"/>
          <a:lstStyle>
            <a:lvl1pPr algn="ctr"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159551" y="3594861"/>
            <a:ext cx="2148658" cy="366981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2482360" y="4342831"/>
            <a:ext cx="1580418" cy="533865"/>
          </a:xfrm>
          <a:prstGeom prst="borderCallout1">
            <a:avLst>
              <a:gd name="adj1" fmla="val 844"/>
              <a:gd name="adj2" fmla="val 50198"/>
              <a:gd name="adj3" fmla="val -216952"/>
              <a:gd name="adj4" fmla="val 49968"/>
            </a:avLst>
          </a:prstGeom>
          <a:ln w="25400">
            <a:solidFill>
              <a:schemeClr val="tx2"/>
            </a:solidFill>
          </a:ln>
        </p:spPr>
        <p:txBody>
          <a:bodyPr rtlCol="0" anchor="ctr"/>
          <a:lstStyle>
            <a:lvl1pPr algn="ctr" rtl="0">
              <a:defRPr sz="1498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411415" y="1338326"/>
            <a:ext cx="1716134" cy="1830444"/>
          </a:xfrm>
          <a:prstGeom prst="rect">
            <a:avLst/>
          </a:prstGeom>
        </p:spPr>
        <p:txBody>
          <a:bodyPr rtlCol="0" anchor="b"/>
          <a:lstStyle>
            <a:lvl1pPr algn="ctr"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78804" y="3594861"/>
            <a:ext cx="1975446" cy="366981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702637" y="2634904"/>
            <a:ext cx="1580418" cy="53386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rtlCol="0" anchor="ctr"/>
          <a:lstStyle>
            <a:lvl1pPr algn="ctr" rtl="0">
              <a:defRPr sz="1498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31692" y="4342830"/>
            <a:ext cx="1716134" cy="2102767"/>
          </a:xfrm>
          <a:prstGeom prst="rect">
            <a:avLst/>
          </a:prstGeom>
        </p:spPr>
        <p:txBody>
          <a:bodyPr rtlCol="0" anchor="t"/>
          <a:lstStyle>
            <a:lvl1pPr algn="ctr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7781746" y="2634904"/>
            <a:ext cx="1580418" cy="53386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rtlCol="0" anchor="ctr"/>
          <a:lstStyle>
            <a:lvl1pPr algn="ctr" rtl="0">
              <a:defRPr sz="1498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7710801" y="4342830"/>
            <a:ext cx="1716134" cy="2102767"/>
          </a:xfrm>
          <a:prstGeom prst="rect">
            <a:avLst/>
          </a:prstGeom>
        </p:spPr>
        <p:txBody>
          <a:bodyPr rtlCol="0" anchor="t"/>
          <a:lstStyle>
            <a:lvl1pPr algn="ctr" rtl="0"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8058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иконки в квадра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6546730" y="4273889"/>
            <a:ext cx="626548" cy="753425"/>
          </a:xfrm>
          <a:prstGeom prst="accentCallout1">
            <a:avLst>
              <a:gd name="adj1" fmla="val 88481"/>
              <a:gd name="adj2" fmla="val 49905"/>
              <a:gd name="adj3" fmla="val -81757"/>
              <a:gd name="adj4" fmla="val 49994"/>
            </a:avLst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304656" y="2453052"/>
            <a:ext cx="626548" cy="753425"/>
          </a:xfrm>
          <a:prstGeom prst="accentCallout1">
            <a:avLst>
              <a:gd name="adj1" fmla="val 98166"/>
              <a:gd name="adj2" fmla="val 49905"/>
              <a:gd name="adj3" fmla="val 177696"/>
              <a:gd name="adj4" fmla="val 49994"/>
            </a:avLst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3107939" y="4271367"/>
            <a:ext cx="626548" cy="753425"/>
          </a:xfrm>
          <a:prstGeom prst="accentCallout1">
            <a:avLst>
              <a:gd name="adj1" fmla="val 88481"/>
              <a:gd name="adj2" fmla="val 49905"/>
              <a:gd name="adj3" fmla="val -69817"/>
              <a:gd name="adj4" fmla="val 49994"/>
            </a:avLst>
          </a:prstGeom>
          <a:solidFill>
            <a:schemeClr val="accent5"/>
          </a:solidFill>
          <a:ln w="12700">
            <a:solidFill>
              <a:schemeClr val="accent5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747209" y="2453040"/>
            <a:ext cx="626548" cy="753425"/>
          </a:xfrm>
          <a:prstGeom prst="accentCallout1">
            <a:avLst>
              <a:gd name="adj1" fmla="val 88481"/>
              <a:gd name="adj2" fmla="val 49905"/>
              <a:gd name="adj3" fmla="val 185159"/>
              <a:gd name="adj4" fmla="val 51423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8282811" y="2453049"/>
            <a:ext cx="626548" cy="753425"/>
          </a:xfrm>
          <a:prstGeom prst="accentCallout1">
            <a:avLst>
              <a:gd name="adj1" fmla="val 88481"/>
              <a:gd name="adj2" fmla="val 49905"/>
              <a:gd name="adj3" fmla="val 174710"/>
              <a:gd name="adj4" fmla="val 49994"/>
            </a:avLst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333267" y="2488369"/>
            <a:ext cx="571768" cy="688034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4778449" y="2488358"/>
            <a:ext cx="571768" cy="688034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8311421" y="2488366"/>
            <a:ext cx="571768" cy="688034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6570971" y="4306584"/>
            <a:ext cx="571768" cy="688034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136550" y="4304061"/>
            <a:ext cx="571768" cy="688034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7553769" y="3556361"/>
            <a:ext cx="2016315" cy="366981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810026" y="3556361"/>
            <a:ext cx="2016315" cy="366981"/>
          </a:xfrm>
          <a:prstGeom prst="homePlate">
            <a:avLst/>
          </a:prstGeom>
          <a:solidFill>
            <a:schemeClr val="accent6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066286" y="3556361"/>
            <a:ext cx="2016315" cy="366981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22545" y="3556361"/>
            <a:ext cx="2016315" cy="366981"/>
          </a:xfrm>
          <a:prstGeom prst="homePlate">
            <a:avLst/>
          </a:prstGeom>
          <a:solidFill>
            <a:schemeClr val="accent5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78804" y="3556361"/>
            <a:ext cx="2016315" cy="366981"/>
          </a:xfrm>
          <a:prstGeom prst="homePlate">
            <a:avLst/>
          </a:prstGeom>
          <a:solidFill>
            <a:schemeClr val="accent1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316990" y="2019623"/>
            <a:ext cx="2140953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755781" y="2019617"/>
            <a:ext cx="2140953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488944" y="4230251"/>
            <a:ext cx="2165716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3956261" y="4230251"/>
            <a:ext cx="2140953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7569321" y="4230251"/>
            <a:ext cx="2000763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5" name="Bild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3776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5B208ED-F863-41FE-AFDB-3BFAA02F186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367635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иконки в круг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7441618" y="3434982"/>
            <a:ext cx="2114097" cy="366981"/>
          </a:xfrm>
          <a:prstGeom prst="homePlate">
            <a:avLst/>
          </a:prstGeom>
          <a:solidFill>
            <a:schemeClr val="accent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5565723" y="3434982"/>
            <a:ext cx="2114097" cy="366981"/>
          </a:xfrm>
          <a:prstGeom prst="homePlate">
            <a:avLst/>
          </a:prstGeom>
          <a:solidFill>
            <a:schemeClr val="accent6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876551" y="3434982"/>
            <a:ext cx="2114097" cy="366981"/>
          </a:xfrm>
          <a:prstGeom prst="homePlate">
            <a:avLst/>
          </a:prstGeom>
          <a:solidFill>
            <a:schemeClr val="tx2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187380" y="3434982"/>
            <a:ext cx="2114097" cy="366981"/>
          </a:xfrm>
          <a:prstGeom prst="homePlate">
            <a:avLst/>
          </a:prstGeom>
          <a:solidFill>
            <a:schemeClr val="accent5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78804" y="3434982"/>
            <a:ext cx="2033502" cy="366981"/>
          </a:xfrm>
          <a:prstGeom prst="homePlate">
            <a:avLst/>
          </a:prstGeom>
          <a:solidFill>
            <a:schemeClr val="accent1"/>
          </a:solidFill>
        </p:spPr>
        <p:txBody>
          <a:bodyPr rtlCol="0" anchor="ctr"/>
          <a:lstStyle>
            <a:lvl1pPr marL="265609" indent="0" algn="l">
              <a:tabLst/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solidFill>
                  <a:schemeClr val="bg1"/>
                </a:solidFill>
                <a:latin typeface="+mj-lt"/>
              </a:defRPr>
            </a:lvl2pPr>
            <a:lvl3pPr>
              <a:defRPr sz="1498">
                <a:solidFill>
                  <a:schemeClr val="bg1"/>
                </a:solidFill>
                <a:latin typeface="+mj-lt"/>
              </a:defRPr>
            </a:lvl3pPr>
            <a:lvl4pPr>
              <a:defRPr sz="1498">
                <a:solidFill>
                  <a:schemeClr val="bg1"/>
                </a:solidFill>
                <a:latin typeface="+mj-lt"/>
              </a:defRPr>
            </a:lvl4pPr>
            <a:lvl5pPr>
              <a:defRPr sz="1498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142586" y="1302336"/>
            <a:ext cx="906092" cy="1087603"/>
          </a:xfrm>
          <a:prstGeom prst="ellipse">
            <a:avLst/>
          </a:prstGeom>
          <a:solidFill>
            <a:schemeClr val="accent1"/>
          </a:solidFill>
          <a:ln w="12700">
            <a:noFill/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2910387" y="5175209"/>
            <a:ext cx="906092" cy="1087603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6342016" y="5175209"/>
            <a:ext cx="906092" cy="1087603"/>
          </a:xfrm>
          <a:prstGeom prst="ellipse">
            <a:avLst/>
          </a:prstGeom>
          <a:solidFill>
            <a:schemeClr val="accent6"/>
          </a:solidFill>
          <a:ln w="12700">
            <a:noFill/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4601378" y="1302336"/>
            <a:ext cx="906092" cy="1087603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accent6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8136980" y="1302336"/>
            <a:ext cx="906092" cy="1087603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</a:ln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266114" y="1443210"/>
            <a:ext cx="2140109" cy="523328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266114" y="1966538"/>
            <a:ext cx="214010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5697742" y="1443210"/>
            <a:ext cx="2140109" cy="523328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697742" y="1966538"/>
            <a:ext cx="214010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488944" y="4047893"/>
            <a:ext cx="2135399" cy="523328"/>
          </a:xfrm>
          <a:prstGeom prst="rect">
            <a:avLst/>
          </a:prstGeom>
        </p:spPr>
        <p:txBody>
          <a:bodyPr rtlCol="0"/>
          <a:lstStyle>
            <a:lvl1pPr marL="261644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  <a:defRPr lang="ru-RU" sz="1665" b="0" i="0" kern="1200" cap="none" baseline="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marL="261644" lvl="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3957105" y="4047893"/>
            <a:ext cx="2140109" cy="523328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3957105" y="4571222"/>
            <a:ext cx="214010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7570773" y="4047893"/>
            <a:ext cx="1984942" cy="523328"/>
          </a:xfrm>
          <a:prstGeom prst="rect">
            <a:avLst/>
          </a:prstGeom>
        </p:spPr>
        <p:txBody>
          <a:bodyPr rtlCol="0"/>
          <a:lstStyle>
            <a:lvl1pPr marL="261644" indent="0" rtl="0">
              <a:spcBef>
                <a:spcPts val="0"/>
              </a:spcBef>
              <a:spcAft>
                <a:spcPts val="250"/>
              </a:spcAft>
              <a:tabLst/>
              <a:defRPr sz="1665" b="0" i="0" cap="none" baseline="0">
                <a:solidFill>
                  <a:schemeClr val="accent2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7570773" y="4571222"/>
            <a:ext cx="1984942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488944" y="4571222"/>
            <a:ext cx="2135399" cy="253659"/>
          </a:xfrm>
          <a:prstGeom prst="rect">
            <a:avLst/>
          </a:prstGeom>
        </p:spPr>
        <p:txBody>
          <a:bodyPr rtlCol="0">
            <a:spAutoFit/>
          </a:bodyPr>
          <a:lstStyle>
            <a:lvl1pPr marL="261644" indent="-237858" rtl="0">
              <a:spcBef>
                <a:spcPts val="0"/>
              </a:spcBef>
              <a:spcAft>
                <a:spcPts val="250"/>
              </a:spcAft>
              <a:buFont typeface="Wingdings" charset="2"/>
              <a:buChar char="§"/>
              <a:tabLst/>
              <a:defRPr sz="1165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165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 1</a:t>
            </a:r>
            <a:endParaRPr lang="en-US" dirty="0"/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276068" y="1443209"/>
            <a:ext cx="650426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4734860" y="1443209"/>
            <a:ext cx="650426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8270462" y="1443209"/>
            <a:ext cx="650426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6475498" y="5327513"/>
            <a:ext cx="650426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043869" y="5327513"/>
            <a:ext cx="650426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53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31" name="Bild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2031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ар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3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1338744" y="3658572"/>
            <a:ext cx="8840321" cy="18817"/>
          </a:xfrm>
          <a:prstGeom prst="rect">
            <a:avLst/>
          </a:prstGeom>
          <a:solidFill>
            <a:schemeClr val="bg2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  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103093" y="4058560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743022" y="2733697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578804" y="3148593"/>
            <a:ext cx="857598" cy="1067756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7382950" y="4057121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2103093" y="2733697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31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2188120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4743022" y="4058560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7382950" y="2742140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488944" y="1325962"/>
            <a:ext cx="9081140" cy="1002451"/>
          </a:xfrm>
          <a:prstGeom prst="rect">
            <a:avLst/>
          </a:prstGeom>
        </p:spPr>
        <p:txBody>
          <a:bodyPr numCol="2" spcCol="360000" rtlCol="0" anchor="t"/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704252" y="3290973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38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4826157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9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7489980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3614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ереди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55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0" y="3658572"/>
            <a:ext cx="10158877" cy="18817"/>
          </a:xfrm>
          <a:prstGeom prst="rect">
            <a:avLst/>
          </a:prstGeom>
          <a:solidFill>
            <a:schemeClr val="bg2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  </a:t>
            </a:r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488944" y="4058560"/>
            <a:ext cx="2503985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776887" y="2733697"/>
            <a:ext cx="2503985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7064831" y="4057121"/>
            <a:ext cx="2503985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88944" y="2733697"/>
            <a:ext cx="2503985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45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573971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3776887" y="4058560"/>
            <a:ext cx="2503985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7064831" y="2742140"/>
            <a:ext cx="2503985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3860022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7171860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488944" y="1325962"/>
            <a:ext cx="9081140" cy="1002451"/>
          </a:xfrm>
          <a:prstGeom prst="rect">
            <a:avLst/>
          </a:prstGeom>
        </p:spPr>
        <p:txBody>
          <a:bodyPr numCol="2" spcCol="360000" rtlCol="0" anchor="t"/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pic>
        <p:nvPicPr>
          <p:cNvPr id="16" name="Bild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0252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фини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-2386" y="3658572"/>
            <a:ext cx="8840321" cy="18817"/>
          </a:xfrm>
          <a:prstGeom prst="rect">
            <a:avLst/>
          </a:prstGeom>
          <a:solidFill>
            <a:schemeClr val="bg2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  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8793648" y="3178747"/>
            <a:ext cx="779147" cy="978467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488944" y="4058560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128872" y="2733697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5768801" y="4057121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88944" y="2733697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45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573971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3128872" y="4058560"/>
            <a:ext cx="2187134" cy="299826"/>
          </a:xfrm>
          <a:prstGeom prst="rect">
            <a:avLst/>
          </a:prstGeom>
        </p:spPr>
        <p:txBody>
          <a:bodyPr rtlCol="0" anchor="t">
            <a:spAutoFit/>
          </a:bodyPr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5768801" y="2742140"/>
            <a:ext cx="2187134" cy="406453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6608" indent="0" algn="l" rtl="0">
              <a:tabLst/>
              <a:defRPr sz="1498" b="0" i="0" cap="none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tage</a:t>
            </a:r>
            <a:endParaRPr lang="en-US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879872" y="3290973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9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3212008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5875831" y="3395140"/>
            <a:ext cx="59934" cy="526866"/>
          </a:xfrm>
          <a:prstGeom prst="rect">
            <a:avLst/>
          </a:prstGeom>
          <a:solidFill>
            <a:schemeClr val="accent4"/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488944" y="1325962"/>
            <a:ext cx="9081140" cy="1002451"/>
          </a:xfrm>
          <a:prstGeom prst="rect">
            <a:avLst/>
          </a:prstGeom>
        </p:spPr>
        <p:txBody>
          <a:bodyPr numCol="2" spcCol="360000" rtlCol="0" anchor="t"/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4390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иконки в ромб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602976" y="1325961"/>
            <a:ext cx="1209029" cy="1505306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94430" y="1325961"/>
            <a:ext cx="1209029" cy="1505306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861705" y="3192422"/>
            <a:ext cx="2447599" cy="859141"/>
          </a:xfrm>
          <a:prstGeom prst="rect">
            <a:avLst/>
          </a:prstGeom>
        </p:spPr>
        <p:txBody>
          <a:bodyPr rtlCol="0"/>
          <a:lstStyle>
            <a:lvl1pPr marL="225966" indent="0">
              <a:spcBef>
                <a:spcPts val="0"/>
              </a:spcBef>
              <a:spcAft>
                <a:spcPts val="250"/>
              </a:spcAft>
              <a:tabLst/>
              <a:defRPr lang="ru-RU" sz="1831" b="0" i="0" kern="1200" cap="none" baseline="0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marL="225966" lvl="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50" hasCustomPrompt="1"/>
          </p:nvPr>
        </p:nvSpPr>
        <p:spPr>
          <a:xfrm>
            <a:off x="6567271" y="1325961"/>
            <a:ext cx="1209029" cy="1505306"/>
          </a:xfrm>
          <a:prstGeom prst="diamond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3870251" y="3192422"/>
            <a:ext cx="2447599" cy="859141"/>
          </a:xfrm>
          <a:prstGeom prst="rect">
            <a:avLst/>
          </a:prstGeom>
        </p:spPr>
        <p:txBody>
          <a:bodyPr rtlCol="0"/>
          <a:lstStyle>
            <a:lvl1pPr marL="225966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  <a:defRPr sz="1831" b="0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marL="225966" lvl="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6834546" y="3192422"/>
            <a:ext cx="2447599" cy="859141"/>
          </a:xfrm>
          <a:prstGeom prst="rect">
            <a:avLst/>
          </a:prstGeom>
        </p:spPr>
        <p:txBody>
          <a:bodyPr rtlCol="0"/>
          <a:lstStyle>
            <a:lvl1pPr marL="225966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  <a:defRPr sz="1831" b="0" i="0" cap="none" baseline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marL="225966" lvl="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861705" y="4060597"/>
            <a:ext cx="2447599" cy="276807"/>
          </a:xfrm>
          <a:prstGeom prst="rect">
            <a:avLst/>
          </a:prstGeom>
        </p:spPr>
        <p:txBody>
          <a:bodyPr rtlCol="0">
            <a:spAutoFit/>
          </a:bodyPr>
          <a:lstStyle>
            <a:lvl1pPr marL="463824" indent="-237858">
              <a:spcBef>
                <a:spcPts val="0"/>
              </a:spcBef>
              <a:spcAft>
                <a:spcPts val="250"/>
              </a:spcAft>
              <a:buClrTx/>
              <a:buFont typeface="Wingdings" charset="2"/>
              <a:buChar char="§"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873444" y="4060597"/>
            <a:ext cx="2447599" cy="276807"/>
          </a:xfrm>
          <a:prstGeom prst="rect">
            <a:avLst/>
          </a:prstGeom>
        </p:spPr>
        <p:txBody>
          <a:bodyPr rtlCol="0">
            <a:spAutoFit/>
          </a:bodyPr>
          <a:lstStyle>
            <a:lvl1pPr marL="225966" marR="0" indent="0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Wingdings" charset="2"/>
              <a:buNone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marL="463824" marR="0" lvl="0" indent="-237858" algn="l" defTabSz="76114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ClrTx/>
              <a:buSzTx/>
              <a:buFont typeface="Wingdings" charset="2"/>
              <a:buChar char="§"/>
              <a:tabLst/>
              <a:defRPr/>
            </a:pPr>
            <a:r>
              <a:rPr lang="en-US" dirty="0" smtClean="0"/>
              <a:t>Bullet poin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6834546" y="4060597"/>
            <a:ext cx="2447599" cy="276807"/>
          </a:xfrm>
          <a:prstGeom prst="rect">
            <a:avLst/>
          </a:prstGeom>
        </p:spPr>
        <p:txBody>
          <a:bodyPr rtlCol="0">
            <a:spAutoFit/>
          </a:bodyPr>
          <a:lstStyle>
            <a:lvl1pPr marL="463824" indent="-237858" rtl="0">
              <a:spcBef>
                <a:spcPts val="0"/>
              </a:spcBef>
              <a:spcAft>
                <a:spcPts val="250"/>
              </a:spcAft>
              <a:buClrTx/>
              <a:buFont typeface="Wingdings" charset="2"/>
              <a:buChar char="§"/>
              <a:tabLst/>
              <a:defRPr sz="1332" b="0" i="0" cap="non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225966" marR="0" indent="-220680" algn="l" defTabSz="761147" rtl="0" eaLnBrk="1" fontAlgn="auto" latinLnBrk="0" hangingPunct="1">
              <a:lnSpc>
                <a:spcPct val="90000"/>
              </a:lnSpc>
              <a:spcBef>
                <a:spcPts val="25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332">
                <a:latin typeface="+mj-lt"/>
              </a:defRPr>
            </a:lvl2pPr>
          </a:lstStyle>
          <a:p>
            <a:pPr lvl="0" rtl="0"/>
            <a:r>
              <a:rPr lang="en-US" dirty="0" smtClean="0"/>
              <a:t>Bullet point</a:t>
            </a:r>
            <a:endParaRPr lang="en-US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88102" y="1687117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900903" y="1687117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6860943" y="1687117"/>
            <a:ext cx="621684" cy="782995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568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мпе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-738917" y="2643683"/>
            <a:ext cx="5119634" cy="2484193"/>
          </a:xfrm>
          <a:prstGeom prst="homePlate">
            <a:avLst>
              <a:gd name="adj" fmla="val 15347"/>
            </a:avLst>
          </a:prstGeom>
          <a:solidFill>
            <a:schemeClr val="accent1"/>
          </a:solidFill>
        </p:spPr>
        <p:txBody>
          <a:bodyPr vert="vert270" rtlCol="0" anchor="ctr"/>
          <a:lstStyle>
            <a:lvl1pPr algn="ctr" rtl="0">
              <a:defRPr sz="2331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4536038" y="205708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tx2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415782" y="2052389"/>
            <a:ext cx="2900756" cy="29732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>
              <a:lnSpc>
                <a:spcPct val="100000"/>
              </a:lnSpc>
              <a:spcBef>
                <a:spcPts val="25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4536036" y="2944193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5"/>
          </a:solidFill>
        </p:spPr>
        <p:txBody>
          <a:bodyPr vert="vert270" rtlCol="0" anchor="ctr"/>
          <a:lstStyle>
            <a:lvl1pPr marL="0" indent="0" algn="ctr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defRPr lang="en-US" sz="1998" b="0" i="0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ctr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15782" y="4790874"/>
            <a:ext cx="2900756" cy="29732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>
              <a:lnSpc>
                <a:spcPct val="100000"/>
              </a:lnSpc>
              <a:spcBef>
                <a:spcPts val="25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7789582" y="205707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6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669327" y="2052388"/>
            <a:ext cx="2900756" cy="29732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>
              <a:lnSpc>
                <a:spcPct val="100000"/>
              </a:lnSpc>
              <a:spcBef>
                <a:spcPts val="25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7789582" y="2944192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4"/>
          </a:solidFill>
        </p:spPr>
        <p:txBody>
          <a:bodyPr vert="vert270" rtlCol="0" anchor="ctr"/>
          <a:lstStyle>
            <a:lvl1pPr marL="0" indent="0" algn="ctr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defRPr lang="en-US" sz="1998" b="0" i="0" kern="12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0" indent="0" algn="ctr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669327" y="4790873"/>
            <a:ext cx="2900756" cy="297325"/>
          </a:xfrm>
          <a:prstGeom prst="rect">
            <a:avLst/>
          </a:prstGeom>
        </p:spPr>
        <p:txBody>
          <a:bodyPr lIns="0" rIns="0" rtlCol="0">
            <a:spAutoFit/>
          </a:bodyPr>
          <a:lstStyle>
            <a:lvl1pPr>
              <a:lnSpc>
                <a:spcPct val="100000"/>
              </a:lnSpc>
              <a:spcBef>
                <a:spcPts val="250"/>
              </a:spcBef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5586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2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8944" y="1325962"/>
            <a:ext cx="2798905" cy="800397"/>
          </a:xfrm>
          <a:prstGeom prst="rect">
            <a:avLst/>
          </a:prstGeom>
        </p:spPr>
        <p:txBody>
          <a:bodyPr rtlCol="0"/>
          <a:lstStyle>
            <a:lvl1pPr marL="225966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  <a:defRPr sz="1998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25966" lvl="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50"/>
              </a:spcAft>
              <a:buFont typeface="Arial"/>
              <a:buNone/>
              <a:tabLst/>
            </a:pPr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488944" y="2126359"/>
            <a:ext cx="2798905" cy="4319238"/>
          </a:xfrm>
          <a:prstGeom prst="rect">
            <a:avLst/>
          </a:prstGeom>
        </p:spPr>
        <p:txBody>
          <a:bodyPr rtlCol="0"/>
          <a:lstStyle>
            <a:lvl1pPr marL="237858" indent="-237858" rtl="0">
              <a:lnSpc>
                <a:spcPct val="100000"/>
              </a:lnSpc>
              <a:spcBef>
                <a:spcPts val="250"/>
              </a:spcBef>
              <a:buClrTx/>
              <a:buFont typeface="Wingdings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3647217" y="1325962"/>
            <a:ext cx="2834556" cy="51196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0" dir="13500000" algn="br" rotWithShape="0">
              <a:schemeClr val="accent2"/>
            </a:outerShdw>
          </a:effectLst>
        </p:spPr>
        <p:txBody>
          <a:bodyPr rtlCol="0"/>
          <a:lstStyle>
            <a:lvl1pPr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6735527" y="1325962"/>
            <a:ext cx="2834556" cy="51196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0" dir="13500000" algn="br" rotWithShape="0">
              <a:schemeClr val="accent2"/>
            </a:outerShdw>
          </a:effectLst>
        </p:spPr>
        <p:txBody>
          <a:bodyPr rtlCol="0"/>
          <a:lstStyle>
            <a:lvl1pPr rtl="0"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905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на плашк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4092164" y="330585"/>
            <a:ext cx="5756446" cy="6508320"/>
          </a:xfrm>
          <a:prstGeom prst="rect">
            <a:avLst/>
          </a:prstGeom>
        </p:spPr>
        <p:txBody>
          <a:bodyPr rtlCol="0"/>
          <a:lstStyle>
            <a:lvl1pPr algn="r">
              <a:defRPr sz="1332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err="1"/>
              <a:t>Карти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2270" y="0"/>
            <a:ext cx="3749895" cy="7093458"/>
          </a:xfrm>
          <a:prstGeom prst="rect">
            <a:avLst/>
          </a:prstGeom>
          <a:solidFill>
            <a:schemeClr val="accent1"/>
          </a:solidFill>
        </p:spPr>
        <p:txBody>
          <a:bodyPr lIns="0" tIns="1152000" rIns="540000" rtlCol="0"/>
          <a:lstStyle>
            <a:lvl1pPr marL="265609" indent="0">
              <a:lnSpc>
                <a:spcPct val="100000"/>
              </a:lnSpc>
              <a:tabLst>
                <a:tab pos="3512374" algn="l"/>
              </a:tabLst>
              <a:defRPr sz="2497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97">
                <a:solidFill>
                  <a:schemeClr val="bg1"/>
                </a:solidFill>
                <a:latin typeface="+mj-lt"/>
              </a:defRPr>
            </a:lvl2pPr>
            <a:lvl3pPr>
              <a:defRPr sz="2497">
                <a:solidFill>
                  <a:schemeClr val="bg1"/>
                </a:solidFill>
                <a:latin typeface="+mj-lt"/>
              </a:defRPr>
            </a:lvl3pPr>
            <a:lvl4pPr>
              <a:defRPr sz="2497">
                <a:solidFill>
                  <a:schemeClr val="bg1"/>
                </a:solidFill>
                <a:latin typeface="+mj-lt"/>
              </a:defRPr>
            </a:lvl4pPr>
            <a:lvl5pPr>
              <a:defRPr sz="2497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Quot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8945" y="5514483"/>
            <a:ext cx="3337937" cy="931115"/>
          </a:xfrm>
          <a:prstGeom prst="rect">
            <a:avLst/>
          </a:prstGeom>
        </p:spPr>
        <p:txBody>
          <a:bodyPr rtlCol="0"/>
          <a:lstStyle>
            <a:lvl1pPr>
              <a:spcBef>
                <a:spcPts val="0"/>
              </a:spcBef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65">
                <a:solidFill>
                  <a:schemeClr val="bg1"/>
                </a:solidFill>
                <a:latin typeface="+mj-lt"/>
              </a:defRPr>
            </a:lvl2pPr>
            <a:lvl3pPr>
              <a:defRPr sz="1665">
                <a:solidFill>
                  <a:schemeClr val="bg1"/>
                </a:solidFill>
                <a:latin typeface="+mj-lt"/>
              </a:defRPr>
            </a:lvl3pPr>
            <a:lvl4pPr>
              <a:defRPr sz="1665">
                <a:solidFill>
                  <a:schemeClr val="bg1"/>
                </a:solidFill>
                <a:latin typeface="+mj-lt"/>
              </a:defRPr>
            </a:lvl4pPr>
            <a:lvl5pPr>
              <a:defRPr sz="1665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Author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804" y="427343"/>
            <a:ext cx="1253261" cy="29641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217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на градиент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2808705" y="1"/>
            <a:ext cx="7340183" cy="7097780"/>
          </a:xfrm>
          <a:prstGeom prst="rect">
            <a:avLst/>
          </a:prstGeom>
        </p:spPr>
        <p:txBody>
          <a:bodyPr rtlCol="0"/>
          <a:lstStyle>
            <a:lvl1pPr algn="r">
              <a:defRPr sz="1332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Картин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0"/>
            <a:ext cx="4955175" cy="7097782"/>
          </a:xfrm>
          <a:prstGeom prst="rect">
            <a:avLst/>
          </a:prstGeom>
          <a:gradFill>
            <a:gsLst>
              <a:gs pos="95000">
                <a:schemeClr val="accent2">
                  <a:alpha val="70000"/>
                </a:schemeClr>
              </a:gs>
              <a:gs pos="5000">
                <a:schemeClr val="accent6"/>
              </a:gs>
            </a:gsLst>
            <a:lin ang="18900000" scaled="1"/>
          </a:gradFill>
        </p:spPr>
        <p:txBody>
          <a:bodyPr lIns="36000" tIns="972000" rIns="540000" rtlCol="0"/>
          <a:lstStyle>
            <a:lvl1pPr marL="555003" indent="0">
              <a:lnSpc>
                <a:spcPct val="100000"/>
              </a:lnSpc>
              <a:tabLst>
                <a:tab pos="3512374" algn="l"/>
              </a:tabLst>
              <a:defRPr sz="2497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97">
                <a:solidFill>
                  <a:schemeClr val="bg1"/>
                </a:solidFill>
                <a:latin typeface="+mj-lt"/>
              </a:defRPr>
            </a:lvl2pPr>
            <a:lvl3pPr>
              <a:defRPr sz="2497">
                <a:solidFill>
                  <a:schemeClr val="bg1"/>
                </a:solidFill>
                <a:latin typeface="+mj-lt"/>
              </a:defRPr>
            </a:lvl3pPr>
            <a:lvl4pPr>
              <a:defRPr sz="2497">
                <a:solidFill>
                  <a:schemeClr val="bg1"/>
                </a:solidFill>
                <a:latin typeface="+mj-lt"/>
              </a:defRPr>
            </a:lvl4pPr>
            <a:lvl5pPr>
              <a:defRPr sz="2497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Quot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88945" y="5514483"/>
            <a:ext cx="3337937" cy="931115"/>
          </a:xfrm>
          <a:prstGeom prst="rect">
            <a:avLst/>
          </a:prstGeom>
        </p:spPr>
        <p:txBody>
          <a:bodyPr rtlCol="0"/>
          <a:lstStyle>
            <a:lvl1pPr>
              <a:spcBef>
                <a:spcPts val="0"/>
              </a:spcBef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65">
                <a:solidFill>
                  <a:schemeClr val="bg1"/>
                </a:solidFill>
                <a:latin typeface="+mj-lt"/>
              </a:defRPr>
            </a:lvl2pPr>
            <a:lvl3pPr>
              <a:defRPr sz="1665">
                <a:solidFill>
                  <a:schemeClr val="bg1"/>
                </a:solidFill>
                <a:latin typeface="+mj-lt"/>
              </a:defRPr>
            </a:lvl3pPr>
            <a:lvl4pPr>
              <a:defRPr sz="1665">
                <a:solidFill>
                  <a:schemeClr val="bg1"/>
                </a:solidFill>
                <a:latin typeface="+mj-lt"/>
              </a:defRPr>
            </a:lvl4pPr>
            <a:lvl5pPr>
              <a:defRPr sz="1665">
                <a:solidFill>
                  <a:schemeClr val="bg1"/>
                </a:solidFill>
                <a:latin typeface="+mj-lt"/>
              </a:defRPr>
            </a:lvl5pPr>
          </a:lstStyle>
          <a:p>
            <a:pPr lvl="0" rtl="0"/>
            <a:r>
              <a:rPr lang="en-US" dirty="0" smtClean="0"/>
              <a:t>Author</a:t>
            </a:r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804" y="427343"/>
            <a:ext cx="1253261" cy="29641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7781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ортрета с Б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285271" y="1325962"/>
            <a:ext cx="2284814" cy="5119636"/>
          </a:xfrm>
          <a:prstGeom prst="rect">
            <a:avLst/>
          </a:prstGeom>
          <a:solidFill>
            <a:schemeClr val="accent1"/>
          </a:solidFill>
        </p:spPr>
        <p:txBody>
          <a:bodyPr lIns="180000" tIns="216000" rIns="180000" rtlCol="0"/>
          <a:lstStyle>
            <a:lvl1pPr marL="0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665" b="0" i="0" kern="1200" cap="none" spc="83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7285270" y="2680056"/>
            <a:ext cx="2110059" cy="3525475"/>
          </a:xfrm>
          <a:prstGeom prst="rect">
            <a:avLst/>
          </a:prstGeom>
        </p:spPr>
        <p:txBody>
          <a:bodyPr lIns="180000" rtlCol="0"/>
          <a:lstStyle>
            <a:lvl1pPr marL="0" indent="0" rtl="0">
              <a:spcBef>
                <a:spcPts val="832"/>
              </a:spcBef>
              <a:buFont typeface="Wingdings" charset="2"/>
              <a:buNone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9" hasCustomPrompt="1"/>
          </p:nvPr>
        </p:nvSpPr>
        <p:spPr>
          <a:xfrm>
            <a:off x="5271973" y="1323769"/>
            <a:ext cx="2013297" cy="5121828"/>
          </a:xfrm>
          <a:prstGeom prst="rect">
            <a:avLst/>
          </a:prstGeom>
        </p:spPr>
        <p:txBody>
          <a:bodyPr rtlCol="0"/>
          <a:lstStyle>
            <a:lvl1pPr rtl="0"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2592101" y="1330351"/>
            <a:ext cx="2272929" cy="5119397"/>
          </a:xfrm>
          <a:prstGeom prst="rect">
            <a:avLst/>
          </a:prstGeom>
          <a:solidFill>
            <a:schemeClr val="accent1"/>
          </a:solidFill>
        </p:spPr>
        <p:txBody>
          <a:bodyPr lIns="180000" tIns="216000" rIns="180000" rtlCol="0"/>
          <a:lstStyle>
            <a:lvl1pPr marL="0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665" b="0" i="0" kern="1200" cap="none" spc="83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2592101" y="2684446"/>
            <a:ext cx="2110059" cy="3525475"/>
          </a:xfrm>
          <a:prstGeom prst="rect">
            <a:avLst/>
          </a:prstGeom>
        </p:spPr>
        <p:txBody>
          <a:bodyPr lIns="180000" rtlCol="0"/>
          <a:lstStyle>
            <a:lvl1pPr marL="0" indent="0" rtl="0">
              <a:spcBef>
                <a:spcPts val="832"/>
              </a:spcBef>
              <a:buFont typeface="Wingdings" charset="2"/>
              <a:buNone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2" hasCustomPrompt="1"/>
          </p:nvPr>
        </p:nvSpPr>
        <p:spPr>
          <a:xfrm>
            <a:off x="488944" y="1325961"/>
            <a:ext cx="2103157" cy="5121828"/>
          </a:xfrm>
          <a:prstGeom prst="rect">
            <a:avLst/>
          </a:prstGeom>
        </p:spPr>
        <p:txBody>
          <a:bodyPr rtlCol="0"/>
          <a:lstStyle>
            <a:lvl1pPr rtl="0"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3108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_comple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7307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картинки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285271" y="1325962"/>
            <a:ext cx="2284814" cy="5119397"/>
          </a:xfrm>
          <a:prstGeom prst="rect">
            <a:avLst/>
          </a:prstGeom>
          <a:solidFill>
            <a:schemeClr val="accent6"/>
          </a:solidFill>
        </p:spPr>
        <p:txBody>
          <a:bodyPr tIns="126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665" b="0" i="0" kern="1200" cap="none" spc="83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7285270" y="3311974"/>
            <a:ext cx="2041451" cy="2893557"/>
          </a:xfrm>
          <a:prstGeom prst="rect">
            <a:avLst/>
          </a:prstGeom>
        </p:spPr>
        <p:txBody>
          <a:bodyPr rtlCol="0"/>
          <a:lstStyle>
            <a:lvl1pPr marL="227287" indent="-160320" rtl="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9" hasCustomPrompt="1"/>
          </p:nvPr>
        </p:nvSpPr>
        <p:spPr>
          <a:xfrm>
            <a:off x="5271973" y="1323769"/>
            <a:ext cx="2013297" cy="5121828"/>
          </a:xfrm>
          <a:prstGeom prst="rect">
            <a:avLst/>
          </a:prstGeom>
        </p:spPr>
        <p:txBody>
          <a:bodyPr rtlCol="0"/>
          <a:lstStyle>
            <a:lvl1pPr rtl="0"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2592101" y="1330351"/>
            <a:ext cx="2272929" cy="5119397"/>
          </a:xfrm>
          <a:prstGeom prst="rect">
            <a:avLst/>
          </a:prstGeom>
          <a:solidFill>
            <a:schemeClr val="accent1"/>
          </a:solidFill>
        </p:spPr>
        <p:txBody>
          <a:bodyPr tIns="126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665" b="0" i="0" kern="1200" cap="none" spc="83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2592101" y="3316364"/>
            <a:ext cx="2041451" cy="2893557"/>
          </a:xfrm>
          <a:prstGeom prst="rect">
            <a:avLst/>
          </a:prstGeom>
        </p:spPr>
        <p:txBody>
          <a:bodyPr rtlCol="0"/>
          <a:lstStyle>
            <a:lvl1pPr marL="227287" indent="-160320" rtl="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2" hasCustomPrompt="1"/>
          </p:nvPr>
        </p:nvSpPr>
        <p:spPr>
          <a:xfrm>
            <a:off x="488944" y="1325961"/>
            <a:ext cx="2103157" cy="5121828"/>
          </a:xfrm>
          <a:prstGeom prst="rect">
            <a:avLst/>
          </a:prstGeom>
        </p:spPr>
        <p:txBody>
          <a:bodyPr rtlCol="0"/>
          <a:lstStyle>
            <a:lvl1pPr rtl="0"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2829520" y="1605770"/>
            <a:ext cx="621684" cy="791706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/>
              <a:t> 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7559054" y="1605770"/>
            <a:ext cx="621684" cy="791706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pic>
        <p:nvPicPr>
          <p:cNvPr id="14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7257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88944" y="1325961"/>
            <a:ext cx="9081139" cy="2036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51965" indent="0">
              <a:tabLst/>
              <a:defRPr lang="en-US" sz="1998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8944" y="3776041"/>
            <a:ext cx="4112972" cy="2669557"/>
          </a:xfrm>
          <a:prstGeom prst="rect">
            <a:avLst/>
          </a:prstGeom>
        </p:spPr>
        <p:txBody>
          <a:bodyPr numCol="1" spcCol="720000" rtlCol="0"/>
          <a:lstStyle>
            <a:lvl1pPr>
              <a:lnSpc>
                <a:spcPct val="100000"/>
              </a:lnSpc>
              <a:spcBef>
                <a:spcPts val="499"/>
              </a:spcBef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5457111" y="3776041"/>
            <a:ext cx="4112972" cy="2669557"/>
          </a:xfrm>
          <a:prstGeom prst="rect">
            <a:avLst/>
          </a:prstGeom>
        </p:spPr>
        <p:txBody>
          <a:bodyPr numCol="1" spcCol="720000" rtlCol="0"/>
          <a:lstStyle>
            <a:lvl1pPr>
              <a:lnSpc>
                <a:spcPct val="100000"/>
              </a:lnSpc>
              <a:spcBef>
                <a:spcPts val="499"/>
              </a:spcBef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5699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480507" y="1325960"/>
            <a:ext cx="7089575" cy="7769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51965" indent="0">
              <a:tabLst/>
              <a:defRPr lang="en-US" sz="16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8944" y="4700713"/>
            <a:ext cx="9081141" cy="1744885"/>
          </a:xfrm>
          <a:prstGeom prst="rect">
            <a:avLst/>
          </a:prstGeom>
        </p:spPr>
        <p:txBody>
          <a:bodyPr numCol="1" spcCol="720000" rtlCol="0"/>
          <a:lstStyle>
            <a:lvl1pPr marL="237858" indent="-237858">
              <a:lnSpc>
                <a:spcPct val="100000"/>
              </a:lnSpc>
              <a:spcBef>
                <a:spcPts val="499"/>
              </a:spcBef>
              <a:buFont typeface="Wingdings" panose="05000000000000000000" pitchFamily="2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6"/>
          </p:nvPr>
        </p:nvSpPr>
        <p:spPr>
          <a:xfrm>
            <a:off x="488943" y="1325961"/>
            <a:ext cx="1991564" cy="3057780"/>
          </a:xfrm>
          <a:prstGeom prst="rect">
            <a:avLst/>
          </a:prstGeom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rtl="0"/>
            <a:endParaRPr lang="ru-RU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480510" y="2102950"/>
            <a:ext cx="7089575" cy="22807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389824" indent="-237858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§"/>
              <a:tabLst/>
              <a:defRPr lang="en-US" sz="11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33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083078" y="819332"/>
            <a:ext cx="3065811" cy="62659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188966" indent="0">
              <a:lnSpc>
                <a:spcPct val="100000"/>
              </a:lnSpc>
              <a:spcBef>
                <a:spcPts val="499"/>
              </a:spcBef>
              <a:tabLst/>
              <a:defRPr lang="en-US" sz="16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6323233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8944" y="1325962"/>
            <a:ext cx="6323497" cy="851813"/>
          </a:xfrm>
          <a:prstGeom prst="rect">
            <a:avLst/>
          </a:prstGeom>
        </p:spPr>
        <p:txBody>
          <a:bodyPr numCol="1" spcCol="360000" rtlCol="0"/>
          <a:lstStyle>
            <a:lvl1pPr>
              <a:lnSpc>
                <a:spcPct val="100000"/>
              </a:lnSpc>
              <a:spcBef>
                <a:spcPts val="499"/>
              </a:spcBef>
              <a:defRPr sz="1665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7324915" y="1325962"/>
            <a:ext cx="676324" cy="851813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488944" y="2955356"/>
            <a:ext cx="6323233" cy="3490241"/>
          </a:xfrm>
          <a:prstGeom prst="rect">
            <a:avLst/>
          </a:prstGeom>
        </p:spPr>
        <p:txBody>
          <a:bodyPr rtlCol="0"/>
          <a:lstStyle>
            <a:lvl1pPr marL="148001" indent="-148001">
              <a:spcBef>
                <a:spcPts val="333"/>
              </a:spcBef>
              <a:buFont typeface="Wingdings" charset="2"/>
              <a:buChar char="§"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7083078" y="0"/>
            <a:ext cx="3065811" cy="90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pic>
        <p:nvPicPr>
          <p:cNvPr id="10" name="Bild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823" y="299052"/>
            <a:ext cx="1253261" cy="296412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7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5682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76" hasCustomPrompt="1"/>
          </p:nvPr>
        </p:nvSpPr>
        <p:spPr>
          <a:xfrm>
            <a:off x="625716" y="2177774"/>
            <a:ext cx="1820939" cy="22840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083078" y="809577"/>
            <a:ext cx="3065811" cy="628755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188966" indent="0">
              <a:lnSpc>
                <a:spcPct val="100000"/>
              </a:lnSpc>
              <a:spcBef>
                <a:spcPts val="499"/>
              </a:spcBef>
              <a:tabLst/>
              <a:defRPr lang="en-US" sz="16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6461543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8944" y="1325962"/>
            <a:ext cx="6461543" cy="851813"/>
          </a:xfrm>
          <a:prstGeom prst="rect">
            <a:avLst/>
          </a:prstGeom>
        </p:spPr>
        <p:txBody>
          <a:bodyPr numCol="1" spcCol="360000" rtlCol="0"/>
          <a:lstStyle>
            <a:lvl1pPr>
              <a:lnSpc>
                <a:spcPct val="100000"/>
              </a:lnSpc>
              <a:spcBef>
                <a:spcPts val="499"/>
              </a:spcBef>
              <a:defRPr sz="1665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7324915" y="1325962"/>
            <a:ext cx="676324" cy="851813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906528" y="3613030"/>
            <a:ext cx="1540126" cy="2832567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906528" y="2642208"/>
            <a:ext cx="1540126" cy="970824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488944" y="2532085"/>
            <a:ext cx="417584" cy="1603695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77" hasCustomPrompt="1"/>
          </p:nvPr>
        </p:nvSpPr>
        <p:spPr>
          <a:xfrm>
            <a:off x="2879394" y="2177774"/>
            <a:ext cx="1820939" cy="22840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3160206" y="3613030"/>
            <a:ext cx="1540126" cy="2832567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79"/>
          </p:nvPr>
        </p:nvSpPr>
        <p:spPr>
          <a:xfrm>
            <a:off x="3160206" y="2642208"/>
            <a:ext cx="1540126" cy="970824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80" hasCustomPrompt="1"/>
          </p:nvPr>
        </p:nvSpPr>
        <p:spPr>
          <a:xfrm>
            <a:off x="2742622" y="2532085"/>
            <a:ext cx="417584" cy="1603695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81" hasCustomPrompt="1"/>
          </p:nvPr>
        </p:nvSpPr>
        <p:spPr>
          <a:xfrm>
            <a:off x="5129549" y="2177774"/>
            <a:ext cx="1820939" cy="228402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5410361" y="3613030"/>
            <a:ext cx="1540126" cy="2832567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5410361" y="2642208"/>
            <a:ext cx="1540126" cy="970824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84" hasCustomPrompt="1"/>
          </p:nvPr>
        </p:nvSpPr>
        <p:spPr>
          <a:xfrm>
            <a:off x="4992777" y="2532085"/>
            <a:ext cx="417584" cy="1603695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083078" y="0"/>
            <a:ext cx="3065811" cy="90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pic>
        <p:nvPicPr>
          <p:cNvPr id="28" name="Bild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823" y="299052"/>
            <a:ext cx="1253261" cy="29641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8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40510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Content Placeholder 5"/>
          <p:cNvSpPr>
            <a:spLocks noGrp="1"/>
          </p:cNvSpPr>
          <p:nvPr>
            <p:ph sz="quarter" idx="85" hasCustomPrompt="1"/>
          </p:nvPr>
        </p:nvSpPr>
        <p:spPr>
          <a:xfrm>
            <a:off x="616762" y="4906685"/>
            <a:ext cx="1201083" cy="150653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6" name="Content Placeholder 5"/>
          <p:cNvSpPr>
            <a:spLocks noGrp="1"/>
          </p:cNvSpPr>
          <p:nvPr>
            <p:ph sz="quarter" idx="81" hasCustomPrompt="1"/>
          </p:nvPr>
        </p:nvSpPr>
        <p:spPr>
          <a:xfrm>
            <a:off x="625717" y="3615329"/>
            <a:ext cx="1201083" cy="150653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76" hasCustomPrompt="1"/>
          </p:nvPr>
        </p:nvSpPr>
        <p:spPr>
          <a:xfrm>
            <a:off x="625717" y="2323974"/>
            <a:ext cx="1201083" cy="150653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rtlCol="0"/>
          <a:lstStyle>
            <a:lvl1pPr>
              <a:defRPr b="0" i="0"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083078" y="809578"/>
            <a:ext cx="3065811" cy="63595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188966" indent="0">
              <a:lnSpc>
                <a:spcPct val="100000"/>
              </a:lnSpc>
              <a:spcBef>
                <a:spcPts val="499"/>
              </a:spcBef>
              <a:tabLst/>
              <a:defRPr lang="en-US" sz="16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6461543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88945" y="1337208"/>
            <a:ext cx="6406332" cy="698269"/>
          </a:xfrm>
          <a:prstGeom prst="rect">
            <a:avLst/>
          </a:prstGeom>
        </p:spPr>
        <p:txBody>
          <a:bodyPr numCol="1" spcCol="360000" rtlCol="0"/>
          <a:lstStyle>
            <a:lvl1pPr>
              <a:lnSpc>
                <a:spcPct val="100000"/>
              </a:lnSpc>
              <a:spcBef>
                <a:spcPts val="499"/>
              </a:spcBef>
              <a:defRPr sz="1665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7324915" y="1325962"/>
            <a:ext cx="676324" cy="851813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933393" y="2552788"/>
            <a:ext cx="5961882" cy="320973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665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497899" y="2554584"/>
            <a:ext cx="417584" cy="1044056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7083078" y="0"/>
            <a:ext cx="3065811" cy="903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933393" y="3844144"/>
            <a:ext cx="5961882" cy="344608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665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84" hasCustomPrompt="1"/>
          </p:nvPr>
        </p:nvSpPr>
        <p:spPr>
          <a:xfrm>
            <a:off x="497899" y="3857178"/>
            <a:ext cx="417584" cy="1044056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86"/>
          </p:nvPr>
        </p:nvSpPr>
        <p:spPr>
          <a:xfrm>
            <a:off x="933395" y="5547583"/>
            <a:ext cx="5961882" cy="515506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87"/>
          </p:nvPr>
        </p:nvSpPr>
        <p:spPr>
          <a:xfrm>
            <a:off x="924439" y="5135498"/>
            <a:ext cx="5970836" cy="378346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665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88" hasCustomPrompt="1"/>
          </p:nvPr>
        </p:nvSpPr>
        <p:spPr>
          <a:xfrm>
            <a:off x="497900" y="5121862"/>
            <a:ext cx="417584" cy="1070735"/>
          </a:xfrm>
          <a:prstGeom prst="rect">
            <a:avLst/>
          </a:prstGeom>
        </p:spPr>
        <p:txBody>
          <a:bodyPr rtlCol="0"/>
          <a:lstStyle>
            <a:lvl1pPr marL="0" indent="0" algn="r">
              <a:spcBef>
                <a:spcPts val="333"/>
              </a:spcBef>
              <a:buFont typeface="Wingdings" charset="2"/>
              <a:buNone/>
              <a:tabLst/>
              <a:defRPr sz="5494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924439" y="2902839"/>
            <a:ext cx="5970836" cy="515506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924439" y="4205798"/>
            <a:ext cx="5970836" cy="515506"/>
          </a:xfrm>
          <a:prstGeom prst="rect">
            <a:avLst/>
          </a:prstGeom>
        </p:spPr>
        <p:txBody>
          <a:bodyPr rtlCol="0"/>
          <a:lstStyle>
            <a:lvl1pPr marL="0" indent="0">
              <a:spcBef>
                <a:spcPts val="333"/>
              </a:spcBef>
              <a:buFont typeface="Wingdings" charset="2"/>
              <a:buNone/>
              <a:tabLst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pic>
        <p:nvPicPr>
          <p:cNvPr id="22" name="Bild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6823" y="299052"/>
            <a:ext cx="1253261" cy="29641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89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7232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ртрет + большая Б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0"/>
            <a:ext cx="3065811" cy="70867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232000" rIns="720000" rtlCol="0" anchor="t"/>
          <a:lstStyle>
            <a:lvl1pPr marL="188966" indent="0">
              <a:lnSpc>
                <a:spcPct val="100000"/>
              </a:lnSpc>
              <a:spcBef>
                <a:spcPts val="499"/>
              </a:spcBef>
              <a:tabLst/>
              <a:defRPr lang="en-US" sz="1665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/>
              <a:t> 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488944" y="1003736"/>
            <a:ext cx="2278288" cy="2063705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ortrai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488944" y="3245755"/>
            <a:ext cx="2278214" cy="1572656"/>
          </a:xfrm>
          <a:prstGeom prst="rect">
            <a:avLst/>
          </a:prstGeom>
        </p:spPr>
        <p:txBody>
          <a:bodyPr rtlCol="0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74" hasCustomPrompt="1"/>
          </p:nvPr>
        </p:nvSpPr>
        <p:spPr>
          <a:xfrm>
            <a:off x="488944" y="5153124"/>
            <a:ext cx="2278214" cy="1572656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Job tit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3194055" y="1325961"/>
            <a:ext cx="6376029" cy="299826"/>
          </a:xfrm>
          <a:prstGeom prst="rect">
            <a:avLst/>
          </a:prstGeom>
        </p:spPr>
        <p:txBody>
          <a:bodyPr numCol="1" spcCol="360000" rtlCol="0">
            <a:spAutoFit/>
          </a:bodyPr>
          <a:lstStyle>
            <a:lvl1pPr marL="6608" indent="0">
              <a:tabLst/>
              <a:defRPr sz="1498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6" hasCustomPrompt="1"/>
          </p:nvPr>
        </p:nvSpPr>
        <p:spPr>
          <a:xfrm>
            <a:off x="3194055" y="1628909"/>
            <a:ext cx="6376029" cy="1158350"/>
          </a:xfrm>
          <a:prstGeom prst="rect">
            <a:avLst/>
          </a:prstGeom>
        </p:spPr>
        <p:txBody>
          <a:bodyPr numCol="1" spcCol="360000" rtlCol="0"/>
          <a:lstStyle>
            <a:lvl1pPr marL="114965" indent="-108358" rtl="0">
              <a:buFont typeface="Wingdings" charset="2"/>
              <a:buChar char="§"/>
              <a:tabLst/>
              <a:defRPr lang="ru-RU" sz="999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77" hasCustomPrompt="1"/>
          </p:nvPr>
        </p:nvSpPr>
        <p:spPr>
          <a:xfrm>
            <a:off x="3194055" y="3170881"/>
            <a:ext cx="6376029" cy="299826"/>
          </a:xfrm>
          <a:prstGeom prst="rect">
            <a:avLst/>
          </a:prstGeom>
        </p:spPr>
        <p:txBody>
          <a:bodyPr numCol="1" spcCol="360000" rtlCol="0">
            <a:spAutoFit/>
          </a:bodyPr>
          <a:lstStyle>
            <a:lvl1pPr marL="6608" indent="0" rtl="0">
              <a:tabLst/>
              <a:defRPr sz="1498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8" hasCustomPrompt="1"/>
          </p:nvPr>
        </p:nvSpPr>
        <p:spPr>
          <a:xfrm>
            <a:off x="3194055" y="3471008"/>
            <a:ext cx="6376029" cy="1191855"/>
          </a:xfrm>
          <a:prstGeom prst="rect">
            <a:avLst/>
          </a:prstGeom>
        </p:spPr>
        <p:txBody>
          <a:bodyPr numCol="1" spcCol="360000" rtlCol="0"/>
          <a:lstStyle>
            <a:lvl1pPr marL="114965" indent="-108358" rtl="0">
              <a:buFont typeface="Wingdings" charset="2"/>
              <a:buChar char="§"/>
              <a:tabLst/>
              <a:defRPr lang="ru-RU" sz="999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79" hasCustomPrompt="1"/>
          </p:nvPr>
        </p:nvSpPr>
        <p:spPr>
          <a:xfrm>
            <a:off x="3194055" y="4954391"/>
            <a:ext cx="6376029" cy="299826"/>
          </a:xfrm>
          <a:prstGeom prst="rect">
            <a:avLst/>
          </a:prstGeom>
        </p:spPr>
        <p:txBody>
          <a:bodyPr numCol="1" spcCol="360000" rtlCol="0">
            <a:spAutoFit/>
          </a:bodyPr>
          <a:lstStyle>
            <a:lvl1pPr marL="6608" indent="0" rtl="0">
              <a:tabLst/>
              <a:defRPr sz="1498" b="0" i="0" cap="none" baseline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80" hasCustomPrompt="1"/>
          </p:nvPr>
        </p:nvSpPr>
        <p:spPr>
          <a:xfrm>
            <a:off x="3194055" y="5254537"/>
            <a:ext cx="6376029" cy="1191634"/>
          </a:xfrm>
          <a:prstGeom prst="rect">
            <a:avLst/>
          </a:prstGeom>
        </p:spPr>
        <p:txBody>
          <a:bodyPr numCol="1" spcCol="360000" rtlCol="0"/>
          <a:lstStyle>
            <a:lvl1pPr marL="114965" indent="-108358" rtl="0">
              <a:buFont typeface="Wingdings" charset="2"/>
              <a:buChar char="§"/>
              <a:tabLst/>
              <a:defRPr lang="ru-RU" sz="999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12322" indent="-112322">
              <a:spcBef>
                <a:spcPts val="166"/>
              </a:spcBef>
              <a:buFont typeface="Wingdings" charset="2"/>
              <a:buChar char="§"/>
              <a:tabLst/>
              <a:defRPr sz="999">
                <a:latin typeface="+mj-lt"/>
              </a:defRPr>
            </a:lvl2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1" name="Bild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81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0584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ИО с вымпе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-738917" y="2643683"/>
            <a:ext cx="5119634" cy="2484193"/>
          </a:xfrm>
          <a:prstGeom prst="homePlate">
            <a:avLst>
              <a:gd name="adj" fmla="val 15347"/>
            </a:avLst>
          </a:prstGeom>
          <a:solidFill>
            <a:schemeClr val="accent1"/>
          </a:solidFill>
        </p:spPr>
        <p:txBody>
          <a:bodyPr vert="vert270" rtlCol="0" anchor="ctr"/>
          <a:lstStyle>
            <a:lvl1pPr algn="ctr">
              <a:defRPr sz="2664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4536038" y="205708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tx2"/>
          </a:solidFill>
        </p:spPr>
        <p:txBody>
          <a:bodyPr vert="vert270" rtlCol="0" anchor="ctr"/>
          <a:lstStyle>
            <a:lvl1pPr algn="ctr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415782" y="2052390"/>
            <a:ext cx="2900756" cy="1654724"/>
          </a:xfrm>
          <a:prstGeom prst="rect">
            <a:avLst/>
          </a:prstGeom>
        </p:spPr>
        <p:txBody>
          <a:bodyPr lIns="0" rIns="0" rtlCol="0"/>
          <a:lstStyle>
            <a:lvl1pPr marL="237858" indent="-237858">
              <a:lnSpc>
                <a:spcPct val="90000"/>
              </a:lnSpc>
              <a:spcBef>
                <a:spcPts val="499"/>
              </a:spcBef>
              <a:buFont typeface="Wingdings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4536038" y="2944193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5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3415782" y="4790874"/>
            <a:ext cx="2900756" cy="1654724"/>
          </a:xfrm>
          <a:prstGeom prst="rect">
            <a:avLst/>
          </a:prstGeom>
        </p:spPr>
        <p:txBody>
          <a:bodyPr lIns="0" rIns="0" rtlCol="0"/>
          <a:lstStyle>
            <a:lvl1pPr marL="237858" indent="-237858">
              <a:lnSpc>
                <a:spcPct val="90000"/>
              </a:lnSpc>
              <a:spcBef>
                <a:spcPts val="499"/>
              </a:spcBef>
              <a:buFont typeface="Wingdings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7789582" y="205707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6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6669327" y="2052389"/>
            <a:ext cx="2900756" cy="1654724"/>
          </a:xfrm>
          <a:prstGeom prst="rect">
            <a:avLst/>
          </a:prstGeom>
        </p:spPr>
        <p:txBody>
          <a:bodyPr lIns="0" rIns="0" rtlCol="0"/>
          <a:lstStyle>
            <a:lvl1pPr marL="237858" indent="-237858">
              <a:lnSpc>
                <a:spcPct val="90000"/>
              </a:lnSpc>
              <a:spcBef>
                <a:spcPts val="499"/>
              </a:spcBef>
              <a:buFont typeface="Wingdings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7789582" y="2944192"/>
            <a:ext cx="660245" cy="2900756"/>
          </a:xfrm>
          <a:prstGeom prst="homePlate">
            <a:avLst>
              <a:gd name="adj" fmla="val 45750"/>
            </a:avLst>
          </a:prstGeom>
          <a:solidFill>
            <a:schemeClr val="accent4"/>
          </a:solidFill>
        </p:spPr>
        <p:txBody>
          <a:bodyPr vert="vert270" rtlCol="0" anchor="ctr"/>
          <a:lstStyle>
            <a:lvl1pPr algn="ctr" rtl="0">
              <a:defRPr sz="1998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6669327" y="4790873"/>
            <a:ext cx="2900756" cy="1654724"/>
          </a:xfrm>
          <a:prstGeom prst="rect">
            <a:avLst/>
          </a:prstGeom>
        </p:spPr>
        <p:txBody>
          <a:bodyPr lIns="0" rIns="0" rtlCol="0"/>
          <a:lstStyle>
            <a:lvl1pPr marL="237858" indent="-237858">
              <a:lnSpc>
                <a:spcPct val="90000"/>
              </a:lnSpc>
              <a:spcBef>
                <a:spcPts val="499"/>
              </a:spcBef>
              <a:buFont typeface="Wingdings" charset="2"/>
              <a:buChar char="§"/>
              <a:defRPr sz="1332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681793" y="1325962"/>
            <a:ext cx="2278214" cy="2063705"/>
          </a:xfrm>
          <a:prstGeom prst="rect">
            <a:avLst/>
          </a:prstGeom>
        </p:spPr>
        <p:txBody>
          <a:bodyPr rtlCol="0" anchor="ctr"/>
          <a:lstStyle>
            <a:lvl1pPr algn="ctr"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ortrait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681793" y="3537674"/>
            <a:ext cx="2278214" cy="1187018"/>
          </a:xfrm>
          <a:prstGeom prst="rect">
            <a:avLst/>
          </a:prstGeom>
        </p:spPr>
        <p:txBody>
          <a:bodyPr rtlCol="0"/>
          <a:lstStyle>
            <a:lvl1pPr>
              <a:defRPr sz="16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Name</a:t>
            </a:r>
            <a:endParaRPr lang="en-US" dirty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74" hasCustomPrompt="1"/>
          </p:nvPr>
        </p:nvSpPr>
        <p:spPr>
          <a:xfrm>
            <a:off x="681793" y="4872942"/>
            <a:ext cx="2278214" cy="987448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Job title</a:t>
            </a:r>
            <a:endParaRPr lang="en-US" dirty="0"/>
          </a:p>
        </p:txBody>
      </p:sp>
      <p:pic>
        <p:nvPicPr>
          <p:cNvPr id="25" name="Bild 2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2803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заика 2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26622" y="1325961"/>
            <a:ext cx="2247822" cy="2537045"/>
          </a:xfrm>
          <a:prstGeom prst="rect">
            <a:avLst/>
          </a:prstGeom>
          <a:solidFill>
            <a:schemeClr val="tx2"/>
          </a:solidFill>
        </p:spPr>
        <p:txBody>
          <a:bodyPr tIns="180000" rtlCol="0"/>
          <a:lstStyle>
            <a:lvl1pPr marL="151965" indent="0"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151965" indent="0">
              <a:tabLst/>
              <a:defRPr lang="en-US" sz="1498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51965" indent="0">
              <a:tabLst/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2970358" y="2152264"/>
            <a:ext cx="1947986" cy="1383069"/>
          </a:xfrm>
          <a:prstGeom prst="rect">
            <a:avLst/>
          </a:prstGeom>
        </p:spPr>
        <p:txBody>
          <a:bodyPr rtlCol="0"/>
          <a:lstStyle>
            <a:lvl1pPr>
              <a:defRPr lang="en-US" sz="1165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36" name="Picture Placeholder 19"/>
          <p:cNvSpPr>
            <a:spLocks noGrp="1"/>
          </p:cNvSpPr>
          <p:nvPr>
            <p:ph type="pic" sz="quarter" idx="16" hasCustomPrompt="1"/>
          </p:nvPr>
        </p:nvSpPr>
        <p:spPr>
          <a:xfrm>
            <a:off x="2826621" y="3863007"/>
            <a:ext cx="2247822" cy="2582591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578804" y="3863007"/>
            <a:ext cx="2247821" cy="2582591"/>
          </a:xfrm>
          <a:prstGeom prst="rect">
            <a:avLst/>
          </a:prstGeom>
          <a:solidFill>
            <a:schemeClr val="accent4"/>
          </a:solidFill>
        </p:spPr>
        <p:txBody>
          <a:bodyPr tIns="180000" rtlCol="0"/>
          <a:lstStyle>
            <a:lvl1pPr marL="151965" indent="0" rtl="0"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151965" indent="0">
              <a:tabLst/>
              <a:defRPr lang="en-US" sz="1498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51965" indent="0">
              <a:tabLst/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722540" y="4689865"/>
            <a:ext cx="1947985" cy="1407590"/>
          </a:xfrm>
          <a:prstGeom prst="rect">
            <a:avLst/>
          </a:prstGeom>
        </p:spPr>
        <p:txBody>
          <a:bodyPr rtlCol="0"/>
          <a:lstStyle>
            <a:lvl1pPr>
              <a:defRPr lang="en-US" sz="1165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39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578803" y="1325961"/>
            <a:ext cx="2247821" cy="2537045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7322250" y="1325961"/>
            <a:ext cx="2247822" cy="2537045"/>
          </a:xfrm>
          <a:prstGeom prst="rect">
            <a:avLst/>
          </a:prstGeom>
          <a:solidFill>
            <a:schemeClr val="accent5"/>
          </a:solidFill>
        </p:spPr>
        <p:txBody>
          <a:bodyPr tIns="180000" rtlCol="0"/>
          <a:lstStyle>
            <a:lvl1pPr marL="151965" indent="0" rtl="0"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151965" indent="0">
              <a:tabLst/>
              <a:defRPr lang="en-US" sz="1498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51965" indent="0">
              <a:tabLst/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7481852" y="2152264"/>
            <a:ext cx="1947985" cy="1383069"/>
          </a:xfrm>
          <a:prstGeom prst="rect">
            <a:avLst/>
          </a:prstGeom>
        </p:spPr>
        <p:txBody>
          <a:bodyPr rtlCol="0"/>
          <a:lstStyle>
            <a:lvl1pPr>
              <a:defRPr lang="en-US" sz="1165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2" hasCustomPrompt="1"/>
          </p:nvPr>
        </p:nvSpPr>
        <p:spPr>
          <a:xfrm>
            <a:off x="7322250" y="3863007"/>
            <a:ext cx="2247822" cy="2582591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5074438" y="3863007"/>
            <a:ext cx="2247822" cy="2582591"/>
          </a:xfrm>
          <a:prstGeom prst="rect">
            <a:avLst/>
          </a:prstGeom>
          <a:solidFill>
            <a:schemeClr val="accent1"/>
          </a:solidFill>
        </p:spPr>
        <p:txBody>
          <a:bodyPr tIns="180000" rtlCol="0"/>
          <a:lstStyle>
            <a:lvl1pPr marL="151965" indent="0" rtl="0"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151965" indent="0">
              <a:tabLst/>
              <a:defRPr lang="en-US" sz="1498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51965" indent="0">
              <a:tabLst/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5234039" y="4689865"/>
            <a:ext cx="1947986" cy="1407590"/>
          </a:xfrm>
          <a:prstGeom prst="rect">
            <a:avLst/>
          </a:prstGeom>
        </p:spPr>
        <p:txBody>
          <a:bodyPr rtlCol="0"/>
          <a:lstStyle>
            <a:lvl1pPr>
              <a:defRPr lang="en-US" sz="1165" b="0" i="0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/>
              <a:t>Click to edit Master text styles</a:t>
            </a:r>
          </a:p>
        </p:txBody>
      </p:sp>
      <p:sp>
        <p:nvSpPr>
          <p:cNvPr id="45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5074437" y="1325407"/>
            <a:ext cx="2247822" cy="2546663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7" name="Bild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5713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4" y="4197982"/>
            <a:ext cx="2213862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488944" y="1325961"/>
            <a:ext cx="2213863" cy="2759094"/>
          </a:xfrm>
          <a:prstGeom prst="rect">
            <a:avLst/>
          </a:prstGeom>
        </p:spPr>
        <p:txBody>
          <a:bodyPr rtlCol="0"/>
          <a:lstStyle>
            <a:lvl1pPr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4" y="5102798"/>
            <a:ext cx="2213862" cy="1342799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2777737" y="4197982"/>
            <a:ext cx="2213862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5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2777736" y="1325961"/>
            <a:ext cx="2214162" cy="2759094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2777737" y="5102798"/>
            <a:ext cx="2213862" cy="1342799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5066530" y="4197982"/>
            <a:ext cx="2213862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6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28" hasCustomPrompt="1"/>
          </p:nvPr>
        </p:nvSpPr>
        <p:spPr>
          <a:xfrm>
            <a:off x="5066530" y="1325961"/>
            <a:ext cx="2214461" cy="2759094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5066530" y="5102798"/>
            <a:ext cx="2213862" cy="1342799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7356221" y="4206441"/>
            <a:ext cx="2213862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3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en-US" dirty="0"/>
          </a:p>
        </p:txBody>
      </p:sp>
      <p:sp>
        <p:nvSpPr>
          <p:cNvPr id="50" name="Picture Placeholder 19"/>
          <p:cNvSpPr>
            <a:spLocks noGrp="1"/>
          </p:cNvSpPr>
          <p:nvPr>
            <p:ph type="pic" sz="quarter" idx="31" hasCustomPrompt="1"/>
          </p:nvPr>
        </p:nvSpPr>
        <p:spPr>
          <a:xfrm>
            <a:off x="7356221" y="1334421"/>
            <a:ext cx="2213863" cy="2759094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7356221" y="5111257"/>
            <a:ext cx="2213862" cy="1342799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7639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7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8" name="Obraz 9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05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420913" y="1673224"/>
            <a:ext cx="9518650" cy="4232275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 marL="0" indent="0" algn="ctr">
              <a:buNone/>
              <a:defRPr sz="3500"/>
            </a:lvl1pPr>
            <a:lvl2pPr marL="494735" indent="0">
              <a:buNone/>
              <a:defRPr sz="3000"/>
            </a:lvl2pPr>
            <a:lvl3pPr marL="989471" indent="0">
              <a:buNone/>
              <a:defRPr sz="2600"/>
            </a:lvl3pPr>
            <a:lvl4pPr marL="1484206" indent="0">
              <a:buNone/>
              <a:defRPr sz="2200"/>
            </a:lvl4pPr>
            <a:lvl5pPr marL="1978939" indent="0">
              <a:buNone/>
              <a:defRPr sz="2200"/>
            </a:lvl5pPr>
            <a:lvl6pPr marL="2473675" indent="0">
              <a:buNone/>
              <a:defRPr sz="2200"/>
            </a:lvl6pPr>
            <a:lvl7pPr marL="2968410" indent="0">
              <a:buNone/>
              <a:defRPr sz="2200"/>
            </a:lvl7pPr>
            <a:lvl8pPr marL="3463146" indent="0">
              <a:buNone/>
              <a:defRPr sz="2200"/>
            </a:lvl8pPr>
            <a:lvl9pPr marL="3957882" indent="0">
              <a:buNone/>
              <a:defRPr sz="22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20913" y="6072520"/>
            <a:ext cx="9518650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i="1"/>
            </a:lvl1pPr>
            <a:lvl2pPr marL="494735" indent="0">
              <a:buNone/>
              <a:defRPr sz="1300"/>
            </a:lvl2pPr>
            <a:lvl3pPr marL="989471" indent="0">
              <a:buNone/>
              <a:defRPr sz="1100"/>
            </a:lvl3pPr>
            <a:lvl4pPr marL="1484206" indent="0">
              <a:buNone/>
              <a:defRPr sz="1000"/>
            </a:lvl4pPr>
            <a:lvl5pPr marL="1978939" indent="0">
              <a:buNone/>
              <a:defRPr sz="1000"/>
            </a:lvl5pPr>
            <a:lvl6pPr marL="2473675" indent="0">
              <a:buNone/>
              <a:defRPr sz="1000"/>
            </a:lvl6pPr>
            <a:lvl7pPr marL="2968410" indent="0">
              <a:buNone/>
              <a:defRPr sz="1000"/>
            </a:lvl7pPr>
            <a:lvl8pPr marL="3463146" indent="0">
              <a:buNone/>
              <a:defRPr sz="1000"/>
            </a:lvl8pPr>
            <a:lvl9pPr marL="3957882" indent="0">
              <a:buNone/>
              <a:defRPr sz="10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</p:txBody>
      </p:sp>
      <p:sp>
        <p:nvSpPr>
          <p:cNvPr id="9" name="Tytuł 8"/>
          <p:cNvSpPr>
            <a:spLocks noGrp="1"/>
          </p:cNvSpPr>
          <p:nvPr>
            <p:ph type="title"/>
          </p:nvPr>
        </p:nvSpPr>
        <p:spPr>
          <a:xfrm>
            <a:off x="420913" y="448072"/>
            <a:ext cx="9518400" cy="801590"/>
          </a:xfrm>
        </p:spPr>
        <p:txBody>
          <a:bodyPr/>
          <a:lstStyle/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11" name="Symbol zastępczy stopki 1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ymbol zastępczy numeru slajdu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31345FD-9D94-4BC6-875C-F9422441E09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35526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488944" y="4197982"/>
            <a:ext cx="2896213" cy="791889"/>
          </a:xfrm>
          <a:prstGeom prst="rect">
            <a:avLst/>
          </a:prstGeom>
        </p:spPr>
        <p:txBody>
          <a:bodyPr rtlCol="0"/>
          <a:lstStyle>
            <a:lvl1pPr>
              <a:defRPr lang="en-US" sz="1665" b="0" i="0" kern="1200">
                <a:solidFill>
                  <a:schemeClr val="accent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488944" y="1325961"/>
            <a:ext cx="2896214" cy="2759094"/>
          </a:xfrm>
          <a:prstGeom prst="rect">
            <a:avLst/>
          </a:prstGeom>
        </p:spPr>
        <p:txBody>
          <a:bodyPr rtlCol="0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99" b="0" i="0">
                <a:ea typeface="Arial" charset="0"/>
                <a:cs typeface="Arial" charset="0"/>
              </a:defRPr>
            </a:lvl1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Pictur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88944" y="5102797"/>
            <a:ext cx="2896213" cy="1342800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3581408" y="4197982"/>
            <a:ext cx="2896213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5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3581407" y="1325961"/>
            <a:ext cx="2896214" cy="2759094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581408" y="5102797"/>
            <a:ext cx="2896213" cy="1342800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6673872" y="4197982"/>
            <a:ext cx="2896213" cy="791889"/>
          </a:xfrm>
          <a:prstGeom prst="rect">
            <a:avLst/>
          </a:prstGeom>
        </p:spPr>
        <p:txBody>
          <a:bodyPr rtlCol="0"/>
          <a:lstStyle>
            <a:lvl1pPr rtl="0">
              <a:defRPr lang="en-US" sz="1665" b="0" i="0" kern="1200">
                <a:solidFill>
                  <a:schemeClr val="accent6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28" hasCustomPrompt="1"/>
          </p:nvPr>
        </p:nvSpPr>
        <p:spPr>
          <a:xfrm>
            <a:off x="6673871" y="1325961"/>
            <a:ext cx="2896215" cy="2759094"/>
          </a:xfrm>
          <a:prstGeom prst="rect">
            <a:avLst/>
          </a:prstGeom>
        </p:spPr>
        <p:txBody>
          <a:bodyPr rtlCol="0"/>
          <a:lstStyle>
            <a:lvl1pPr rtl="0">
              <a:defRPr sz="999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6673872" y="5102797"/>
            <a:ext cx="2896213" cy="1342800"/>
          </a:xfrm>
          <a:prstGeom prst="rect">
            <a:avLst/>
          </a:prstGeom>
        </p:spPr>
        <p:txBody>
          <a:bodyPr rtlCol="0"/>
          <a:lstStyle>
            <a:lvl1pPr rtl="0">
              <a:defRPr lang="ru-RU" sz="1165" b="0" i="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5" name="Bild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5623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текст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73198" y="1325961"/>
            <a:ext cx="2146912" cy="5119636"/>
          </a:xfrm>
          <a:prstGeom prst="rect">
            <a:avLst/>
          </a:prstGeom>
          <a:solidFill>
            <a:schemeClr val="accent1"/>
          </a:solidFill>
        </p:spPr>
        <p:txBody>
          <a:bodyPr tIns="90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831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578805" y="3148409"/>
            <a:ext cx="1937683" cy="3041458"/>
          </a:xfrm>
          <a:prstGeom prst="rect">
            <a:avLst/>
          </a:prstGeom>
        </p:spPr>
        <p:txBody>
          <a:bodyPr rtlCol="0"/>
          <a:lstStyle>
            <a:lvl1pPr marL="227287" indent="-16032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2863763" y="1325961"/>
            <a:ext cx="2139672" cy="5119636"/>
          </a:xfrm>
          <a:prstGeom prst="rect">
            <a:avLst/>
          </a:prstGeom>
          <a:solidFill>
            <a:schemeClr val="accent6"/>
          </a:solidFill>
        </p:spPr>
        <p:txBody>
          <a:bodyPr tIns="90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831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2861432" y="3148409"/>
            <a:ext cx="2036526" cy="3041458"/>
          </a:xfrm>
          <a:prstGeom prst="rect">
            <a:avLst/>
          </a:prstGeom>
        </p:spPr>
        <p:txBody>
          <a:bodyPr rtlCol="0"/>
          <a:lstStyle>
            <a:lvl1pPr marL="227287" indent="-160320" rtl="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5147103" y="1325961"/>
            <a:ext cx="2139656" cy="5119636"/>
          </a:xfrm>
          <a:prstGeom prst="rect">
            <a:avLst/>
          </a:prstGeom>
          <a:solidFill>
            <a:schemeClr val="accent5"/>
          </a:solidFill>
        </p:spPr>
        <p:txBody>
          <a:bodyPr tIns="90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831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38" hasCustomPrompt="1"/>
          </p:nvPr>
        </p:nvSpPr>
        <p:spPr>
          <a:xfrm>
            <a:off x="5149376" y="3148409"/>
            <a:ext cx="2005392" cy="3041458"/>
          </a:xfrm>
          <a:prstGeom prst="rect">
            <a:avLst/>
          </a:prstGeom>
        </p:spPr>
        <p:txBody>
          <a:bodyPr rtlCol="0"/>
          <a:lstStyle>
            <a:lvl1pPr marL="227287" indent="-160320" rtl="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7427043" y="1325961"/>
            <a:ext cx="2143042" cy="5119636"/>
          </a:xfrm>
          <a:prstGeom prst="rect">
            <a:avLst/>
          </a:prstGeom>
          <a:solidFill>
            <a:schemeClr val="accent4"/>
          </a:solidFill>
        </p:spPr>
        <p:txBody>
          <a:bodyPr tIns="900000" rtlCol="0"/>
          <a:lstStyle>
            <a:lvl1pPr marL="227745" indent="0" algn="l" defTabSz="761147" rtl="0" eaLnBrk="1" latinLnBrk="0" hangingPunct="1">
              <a:lnSpc>
                <a:spcPct val="90000"/>
              </a:lnSpc>
              <a:spcBef>
                <a:spcPts val="832"/>
              </a:spcBef>
              <a:buFont typeface="Arial"/>
              <a:buNone/>
              <a:tabLst/>
              <a:defRPr lang="en-US" sz="1831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243144" indent="-243144">
              <a:buFont typeface="Wingdings" charset="2"/>
              <a:buChar char="§"/>
              <a:tabLst/>
              <a:defRPr lang="en-US" sz="1249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53" name="Text Placeholder 13"/>
          <p:cNvSpPr>
            <a:spLocks noGrp="1"/>
          </p:cNvSpPr>
          <p:nvPr>
            <p:ph type="body" sz="quarter" idx="40" hasCustomPrompt="1"/>
          </p:nvPr>
        </p:nvSpPr>
        <p:spPr>
          <a:xfrm>
            <a:off x="7429466" y="3148409"/>
            <a:ext cx="2005389" cy="3041458"/>
          </a:xfrm>
          <a:prstGeom prst="rect">
            <a:avLst/>
          </a:prstGeom>
        </p:spPr>
        <p:txBody>
          <a:bodyPr rtlCol="0"/>
          <a:lstStyle>
            <a:lvl1pPr marL="227287" indent="-160320" rtl="0">
              <a:spcBef>
                <a:spcPts val="499"/>
              </a:spcBef>
              <a:buFont typeface="Wingdings" charset="2"/>
              <a:buChar char="§"/>
              <a:tabLst/>
              <a:defRPr lang="ru-RU" sz="1332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165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165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74953" y="1496900"/>
            <a:ext cx="550764" cy="68512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16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158734" y="1496900"/>
            <a:ext cx="578858" cy="68512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16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5443247" y="1496900"/>
            <a:ext cx="570008" cy="68512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16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728520" y="1496900"/>
            <a:ext cx="570008" cy="68512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916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735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ая цифра + карточ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78804" y="3780558"/>
            <a:ext cx="1920095" cy="2665039"/>
          </a:xfrm>
          <a:prstGeom prst="rect">
            <a:avLst/>
          </a:prstGeom>
          <a:solidFill>
            <a:schemeClr val="accent2"/>
          </a:solidFill>
        </p:spPr>
        <p:txBody>
          <a:bodyPr tIns="827999" rIns="180000" rtlCol="0"/>
          <a:lstStyle>
            <a:lvl1pPr marL="7400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000" indent="0">
              <a:spcBef>
                <a:spcPts val="0"/>
              </a:spcBef>
              <a:buFont typeface="Wingdings" charset="2"/>
              <a:buNone/>
              <a:tabLst/>
              <a:defRPr lang="en-US" sz="3996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  <a:p>
            <a:pPr lvl="1" rtl="0"/>
            <a:r>
              <a:rPr lang="en-US" dirty="0"/>
              <a:t>000</a:t>
            </a:r>
          </a:p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578804" y="2904025"/>
            <a:ext cx="4060791" cy="370559"/>
          </a:xfrm>
          <a:prstGeom prst="rect">
            <a:avLst/>
          </a:prstGeom>
        </p:spPr>
        <p:txBody>
          <a:bodyPr rtlCol="0"/>
          <a:lstStyle>
            <a:lvl1pPr rtl="0">
              <a:lnSpc>
                <a:spcPct val="100000"/>
              </a:lnSpc>
              <a:defRPr sz="19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578804" y="1325961"/>
            <a:ext cx="4060791" cy="1510205"/>
          </a:xfrm>
          <a:prstGeom prst="rect">
            <a:avLst/>
          </a:prstGeom>
        </p:spPr>
        <p:txBody>
          <a:bodyPr rtlCol="0" anchor="ctr"/>
          <a:lstStyle>
            <a:lvl1pPr>
              <a:lnSpc>
                <a:spcPct val="100000"/>
              </a:lnSpc>
              <a:spcBef>
                <a:spcPts val="0"/>
              </a:spcBef>
              <a:defRPr sz="11487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000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2719500" y="3780558"/>
            <a:ext cx="1920095" cy="2665039"/>
          </a:xfrm>
          <a:prstGeom prst="rect">
            <a:avLst/>
          </a:prstGeom>
          <a:solidFill>
            <a:schemeClr val="accent2"/>
          </a:solidFill>
        </p:spPr>
        <p:txBody>
          <a:bodyPr tIns="827999" rIns="180000" rtlCol="0"/>
          <a:lstStyle>
            <a:lvl1pPr marL="74000" indent="0" algn="l" defTabSz="761147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tabLst/>
              <a:defRPr lang="en-US" sz="1498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000" indent="0">
              <a:spcBef>
                <a:spcPts val="0"/>
              </a:spcBef>
              <a:buFont typeface="Wingdings" charset="2"/>
              <a:buNone/>
              <a:tabLst/>
              <a:defRPr lang="en-US" sz="3996" b="0" i="0" kern="120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2pPr>
          </a:lstStyle>
          <a:p>
            <a:pPr lvl="0" rtl="0"/>
            <a:r>
              <a:rPr lang="de-DE" dirty="0" smtClean="0"/>
              <a:t>Text</a:t>
            </a:r>
            <a:endParaRPr lang="en-US" dirty="0"/>
          </a:p>
          <a:p>
            <a:pPr lvl="1" rtl="0"/>
            <a:r>
              <a:rPr lang="en-US" dirty="0"/>
              <a:t>000</a:t>
            </a:r>
          </a:p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722977" y="3885244"/>
            <a:ext cx="481957" cy="607012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32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2862166" y="3885244"/>
            <a:ext cx="481957" cy="607012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832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4" name="Bild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766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колонки текст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579530" y="1325961"/>
            <a:ext cx="2097192" cy="714655"/>
          </a:xfrm>
          <a:prstGeom prst="rect">
            <a:avLst/>
          </a:prstGeom>
          <a:noFill/>
        </p:spPr>
        <p:txBody>
          <a:bodyPr lIns="90000" tIns="46800" rIns="90000" bIns="46800" rtlCol="0" anchor="t"/>
          <a:lstStyle>
            <a:lvl1pPr marL="0" marR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831" b="0" i="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Subtitle</a:t>
            </a:r>
            <a:endParaRPr lang="ru-RU" dirty="0" smtClean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2887285" y="1328310"/>
            <a:ext cx="2097192" cy="714655"/>
          </a:xfrm>
          <a:prstGeom prst="rect">
            <a:avLst/>
          </a:prstGeom>
          <a:noFill/>
        </p:spPr>
        <p:txBody>
          <a:bodyPr lIns="90000" tIns="46800" rIns="90000" bIns="46800" rtlCol="0" anchor="t"/>
          <a:lstStyle>
            <a:lvl1pPr rtl="0">
              <a:defRPr lang="en-US" sz="1831" b="0" i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174623" y="1328310"/>
            <a:ext cx="2097192" cy="714655"/>
          </a:xfrm>
          <a:prstGeom prst="rect">
            <a:avLst/>
          </a:prstGeom>
          <a:noFill/>
        </p:spPr>
        <p:txBody>
          <a:bodyPr lIns="90000" tIns="46800" rIns="90000" bIns="46800" rtlCol="0" anchor="t"/>
          <a:lstStyle>
            <a:lvl1pPr rtl="0">
              <a:defRPr lang="en-US" sz="1831" b="0" i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7471510" y="1325961"/>
            <a:ext cx="2097192" cy="714655"/>
          </a:xfrm>
          <a:prstGeom prst="rect">
            <a:avLst/>
          </a:prstGeom>
          <a:noFill/>
        </p:spPr>
        <p:txBody>
          <a:bodyPr lIns="90000" tIns="46800" rIns="90000" bIns="46800" rtlCol="0" anchor="t"/>
          <a:lstStyle>
            <a:lvl1pPr rtl="0">
              <a:defRPr lang="en-US" sz="1831" b="0" i="0">
                <a:solidFill>
                  <a:schemeClr val="accent4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Subtitle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8" hasCustomPrompt="1"/>
          </p:nvPr>
        </p:nvSpPr>
        <p:spPr>
          <a:xfrm>
            <a:off x="578804" y="4184511"/>
            <a:ext cx="2098636" cy="2261086"/>
          </a:xfrm>
          <a:prstGeom prst="rect">
            <a:avLst/>
          </a:prstGeom>
        </p:spPr>
        <p:txBody>
          <a:bodyPr rtlCol="0"/>
          <a:lstStyle>
            <a:lvl1pPr marL="113643" indent="-113643">
              <a:spcBef>
                <a:spcPts val="250"/>
              </a:spcBef>
              <a:buFont typeface="Wingdings" charset="2"/>
              <a:buChar char="§"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1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2887224" y="4184511"/>
            <a:ext cx="2098636" cy="2261086"/>
          </a:xfrm>
          <a:prstGeom prst="rect">
            <a:avLst/>
          </a:prstGeom>
        </p:spPr>
        <p:txBody>
          <a:bodyPr rtlCol="0"/>
          <a:lstStyle>
            <a:lvl1pPr marL="113643" indent="-113643" rtl="0">
              <a:spcBef>
                <a:spcPts val="250"/>
              </a:spcBef>
              <a:buFont typeface="Wingdings" charset="2"/>
              <a:buChar char="§"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50" hasCustomPrompt="1"/>
          </p:nvPr>
        </p:nvSpPr>
        <p:spPr>
          <a:xfrm>
            <a:off x="5173899" y="4184511"/>
            <a:ext cx="2098636" cy="2261086"/>
          </a:xfrm>
          <a:prstGeom prst="rect">
            <a:avLst/>
          </a:prstGeom>
        </p:spPr>
        <p:txBody>
          <a:bodyPr rtlCol="0"/>
          <a:lstStyle>
            <a:lvl1pPr marL="113643" indent="-113643" rtl="0">
              <a:spcBef>
                <a:spcPts val="250"/>
              </a:spcBef>
              <a:buFont typeface="Wingdings" charset="2"/>
              <a:buChar char="§"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51" hasCustomPrompt="1"/>
          </p:nvPr>
        </p:nvSpPr>
        <p:spPr>
          <a:xfrm>
            <a:off x="7471448" y="4184511"/>
            <a:ext cx="2098636" cy="2261086"/>
          </a:xfrm>
          <a:prstGeom prst="rect">
            <a:avLst/>
          </a:prstGeom>
        </p:spPr>
        <p:txBody>
          <a:bodyPr rtlCol="0"/>
          <a:lstStyle>
            <a:lvl1pPr marL="113643" indent="-113643" rtl="0">
              <a:spcBef>
                <a:spcPts val="250"/>
              </a:spcBef>
              <a:buFont typeface="Wingdings" charset="2"/>
              <a:buChar char="§"/>
              <a:tabLst/>
              <a:defRPr sz="1165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578804" y="2223529"/>
            <a:ext cx="1333676" cy="1660499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26194" y="2546779"/>
            <a:ext cx="838896" cy="105656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2885020" y="2223529"/>
            <a:ext cx="1333676" cy="1660499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73" hasCustomPrompt="1"/>
          </p:nvPr>
        </p:nvSpPr>
        <p:spPr>
          <a:xfrm>
            <a:off x="5191236" y="2223529"/>
            <a:ext cx="1333676" cy="1660499"/>
          </a:xfrm>
          <a:prstGeom prst="diamond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74" hasCustomPrompt="1"/>
          </p:nvPr>
        </p:nvSpPr>
        <p:spPr>
          <a:xfrm>
            <a:off x="7471448" y="2223529"/>
            <a:ext cx="1333676" cy="1660499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rtlCol="0" anchor="ctr"/>
          <a:lstStyle>
            <a:lvl1pPr marL="75322" indent="0" algn="l">
              <a:tabLst/>
              <a:defRPr sz="1498" b="0" i="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/>
              <a:t> </a:t>
            </a:r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132410" y="2546779"/>
            <a:ext cx="838896" cy="105656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76" hasCustomPrompt="1"/>
          </p:nvPr>
        </p:nvSpPr>
        <p:spPr>
          <a:xfrm>
            <a:off x="5438626" y="2546779"/>
            <a:ext cx="838896" cy="105656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7" hasCustomPrompt="1"/>
          </p:nvPr>
        </p:nvSpPr>
        <p:spPr>
          <a:xfrm>
            <a:off x="7718838" y="2546779"/>
            <a:ext cx="838896" cy="1056568"/>
          </a:xfrm>
          <a:prstGeom prst="rect">
            <a:avLst/>
          </a:prstGeom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bg1"/>
                </a:solidFill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icon</a:t>
            </a:r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23" name="Bild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78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45665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 hasCustomPrompt="1"/>
          </p:nvPr>
        </p:nvSpPr>
        <p:spPr>
          <a:xfrm>
            <a:off x="578804" y="1325962"/>
            <a:ext cx="8991280" cy="5119636"/>
          </a:xfrm>
          <a:prstGeom prst="rect">
            <a:avLst/>
          </a:prstGeom>
        </p:spPr>
        <p:txBody>
          <a:bodyPr rtlCol="0"/>
          <a:lstStyle>
            <a:lvl1pPr>
              <a:defRPr sz="1165" b="0" i="0">
                <a:ea typeface="Arial" charset="0"/>
                <a:cs typeface="Arial" charset="0"/>
              </a:defRPr>
            </a:lvl1pPr>
          </a:lstStyle>
          <a:p>
            <a:pPr rtl="0"/>
            <a:r>
              <a:rPr lang="en-US" dirty="0" smtClean="0"/>
              <a:t>Diagram 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2339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руктур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488944" y="1325962"/>
            <a:ext cx="3090427" cy="5119636"/>
          </a:xfrm>
          <a:prstGeom prst="rect">
            <a:avLst/>
          </a:prstGeom>
        </p:spPr>
        <p:txBody>
          <a:bodyPr rtlCol="0" anchor="t"/>
          <a:lstStyle>
            <a:lvl1pPr algn="l" rtl="0">
              <a:defRPr sz="1498" b="0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5848707" y="3338741"/>
            <a:ext cx="1560656" cy="569217"/>
          </a:xfrm>
          <a:prstGeom prst="rect">
            <a:avLst/>
          </a:prstGeom>
          <a:solidFill>
            <a:schemeClr val="tx2"/>
          </a:solidFill>
        </p:spPr>
        <p:txBody>
          <a:bodyPr rtlCol="0" anchor="ctr"/>
          <a:lstStyle>
            <a:lvl1pPr algn="ctr"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3947632" y="1325961"/>
            <a:ext cx="1560656" cy="569217"/>
          </a:xfrm>
          <a:prstGeom prst="rect">
            <a:avLst/>
          </a:prstGeom>
          <a:solidFill>
            <a:schemeClr val="accent4"/>
          </a:solidFill>
        </p:spPr>
        <p:txBody>
          <a:bodyPr rtlCol="0" anchor="ctr"/>
          <a:lstStyle>
            <a:lvl1pPr algn="ctr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7637563" y="1325961"/>
            <a:ext cx="1560656" cy="569217"/>
          </a:xfrm>
          <a:prstGeom prst="rect">
            <a:avLst/>
          </a:prstGeom>
          <a:solidFill>
            <a:schemeClr val="accent6"/>
          </a:solidFill>
        </p:spPr>
        <p:txBody>
          <a:bodyPr rtlCol="0" anchor="ctr"/>
          <a:lstStyle>
            <a:lvl1pPr algn="ctr"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3947632" y="4340691"/>
            <a:ext cx="1560656" cy="569217"/>
          </a:xfrm>
          <a:prstGeom prst="rect">
            <a:avLst/>
          </a:prstGeom>
          <a:solidFill>
            <a:schemeClr val="accent1"/>
          </a:solidFill>
        </p:spPr>
        <p:txBody>
          <a:bodyPr rtlCol="0" anchor="ctr"/>
          <a:lstStyle>
            <a:lvl1pPr algn="ctr" rtl="0">
              <a:defRPr sz="1332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755395" y="4218539"/>
            <a:ext cx="1327918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7755395" y="5108999"/>
            <a:ext cx="1327918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rtlCol="0" anchor="ctr"/>
          <a:lstStyle>
            <a:lvl1pPr marL="0" marR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761147" rtl="0" eaLnBrk="1" fontAlgn="auto" latinLnBrk="0" hangingPunct="1">
              <a:lnSpc>
                <a:spcPct val="90000"/>
              </a:lnSpc>
              <a:spcBef>
                <a:spcPts val="832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 smtClean="0"/>
              <a:t>Department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7755395" y="5910152"/>
            <a:ext cx="1327918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4299033" y="5910152"/>
            <a:ext cx="1095049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299033" y="5126803"/>
            <a:ext cx="1095049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4299033" y="2943480"/>
            <a:ext cx="1095049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4299033" y="2160130"/>
            <a:ext cx="1095049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7988264" y="2160130"/>
            <a:ext cx="1095049" cy="535445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txBody>
          <a:bodyPr rtlCol="0" anchor="ctr"/>
          <a:lstStyle>
            <a:lvl1pPr algn="ctr" rtl="0">
              <a:defRPr sz="1165" b="0" i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 rtl="0"/>
            <a:r>
              <a:rPr lang="en-US" dirty="0" smtClean="0"/>
              <a:t>Department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488944" y="1"/>
            <a:ext cx="7491797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/>
              <a:t>Click to edit Master title style</a:t>
            </a:r>
          </a:p>
        </p:txBody>
      </p:sp>
      <p:pic>
        <p:nvPicPr>
          <p:cNvPr id="19" name="Bild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52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3284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88652"/>
            <a:ext cx="10148888" cy="725896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2287" tIns="42287" rIns="42287" bIns="42287" numCol="1" spcCol="38100" rtlCol="0" anchor="ctr">
            <a:spAutoFit/>
          </a:bodyPr>
          <a:lstStyle/>
          <a:p>
            <a:pPr marL="0" marR="0" indent="0" algn="ctr" defTabSz="613146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162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88944" y="1325961"/>
            <a:ext cx="9081139" cy="2036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51965" indent="0">
              <a:tabLst/>
              <a:defRPr lang="en-US" sz="1998" b="0" i="0">
                <a:solidFill>
                  <a:srgbClr val="FFFFFF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marL="151965"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88944" y="3776041"/>
            <a:ext cx="9081139" cy="2669557"/>
          </a:xfrm>
          <a:prstGeom prst="rect">
            <a:avLst/>
          </a:prstGeom>
        </p:spPr>
        <p:txBody>
          <a:bodyPr numCol="2" spcCol="720000" rtlCol="0"/>
          <a:lstStyle>
            <a:lvl1pPr>
              <a:lnSpc>
                <a:spcPct val="100000"/>
              </a:lnSpc>
              <a:spcBef>
                <a:spcPts val="499"/>
              </a:spcBef>
              <a:defRPr sz="1498" b="0" i="0">
                <a:latin typeface="Arial" charset="0"/>
                <a:ea typeface="Arial" charset="0"/>
                <a:cs typeface="Arial" charset="0"/>
              </a:defRPr>
            </a:lvl1pPr>
            <a:lvl2pPr>
              <a:defRPr sz="1498">
                <a:latin typeface="+mj-lt"/>
              </a:defRPr>
            </a:lvl2pPr>
            <a:lvl3pPr>
              <a:defRPr sz="1498">
                <a:latin typeface="+mj-lt"/>
              </a:defRPr>
            </a:lvl3pPr>
            <a:lvl4pPr>
              <a:defRPr sz="1498">
                <a:latin typeface="+mj-lt"/>
              </a:defRPr>
            </a:lvl4pPr>
            <a:lvl5pPr>
              <a:defRPr sz="1498">
                <a:latin typeface="+mj-lt"/>
              </a:defRPr>
            </a:lvl5pPr>
          </a:lstStyle>
          <a:p>
            <a:pPr lvl="0" rt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88944" y="1"/>
            <a:ext cx="9081140" cy="912232"/>
          </a:xfrm>
        </p:spPr>
        <p:txBody>
          <a:bodyPr rtlCol="0"/>
          <a:lstStyle>
            <a:lvl1pPr>
              <a:defRPr b="0" i="0">
                <a:latin typeface="Arial" charset="0"/>
              </a:defRPr>
            </a:lvl1pPr>
          </a:lstStyle>
          <a:p>
            <a:pPr rtl="0"/>
            <a:r>
              <a:rPr lang="en-US" dirty="0" smtClean="0"/>
              <a:t>Title</a:t>
            </a:r>
            <a:endParaRPr lang="en-US" dirty="0"/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7895" y="295065"/>
            <a:ext cx="1266462" cy="30019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684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62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7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pic>
        <p:nvPicPr>
          <p:cNvPr id="8" name="Obraz 9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605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0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420913" y="1673224"/>
            <a:ext cx="2665187" cy="4232275"/>
          </a:xfrm>
          <a:prstGeom prst="rect">
            <a:avLst/>
          </a:prstGeom>
        </p:spPr>
        <p:txBody>
          <a:bodyPr rtlCol="0" anchor="ctr">
            <a:noAutofit/>
          </a:bodyPr>
          <a:lstStyle>
            <a:lvl1pPr marL="0" indent="0" algn="ctr">
              <a:buNone/>
              <a:defRPr sz="3500"/>
            </a:lvl1pPr>
            <a:lvl2pPr marL="494735" indent="0">
              <a:buNone/>
              <a:defRPr sz="3000"/>
            </a:lvl2pPr>
            <a:lvl3pPr marL="989471" indent="0">
              <a:buNone/>
              <a:defRPr sz="2600"/>
            </a:lvl3pPr>
            <a:lvl4pPr marL="1484206" indent="0">
              <a:buNone/>
              <a:defRPr sz="2200"/>
            </a:lvl4pPr>
            <a:lvl5pPr marL="1978939" indent="0">
              <a:buNone/>
              <a:defRPr sz="2200"/>
            </a:lvl5pPr>
            <a:lvl6pPr marL="2473675" indent="0">
              <a:buNone/>
              <a:defRPr sz="2200"/>
            </a:lvl6pPr>
            <a:lvl7pPr marL="2968410" indent="0">
              <a:buNone/>
              <a:defRPr sz="2200"/>
            </a:lvl7pPr>
            <a:lvl8pPr marL="3463146" indent="0">
              <a:buNone/>
              <a:defRPr sz="2200"/>
            </a:lvl8pPr>
            <a:lvl9pPr marL="3957882" indent="0">
              <a:buNone/>
              <a:defRPr sz="2200"/>
            </a:lvl9pPr>
          </a:lstStyle>
          <a:p>
            <a:pPr lvl="0"/>
            <a:endParaRPr lang="pl-PL" noProof="0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20913" y="6072520"/>
            <a:ext cx="2665187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i="1"/>
            </a:lvl1pPr>
            <a:lvl2pPr marL="494735" indent="0">
              <a:buNone/>
              <a:defRPr sz="1300"/>
            </a:lvl2pPr>
            <a:lvl3pPr marL="989471" indent="0">
              <a:buNone/>
              <a:defRPr sz="1100"/>
            </a:lvl3pPr>
            <a:lvl4pPr marL="1484206" indent="0">
              <a:buNone/>
              <a:defRPr sz="1000"/>
            </a:lvl4pPr>
            <a:lvl5pPr marL="1978939" indent="0">
              <a:buNone/>
              <a:defRPr sz="1000"/>
            </a:lvl5pPr>
            <a:lvl6pPr marL="2473675" indent="0">
              <a:buNone/>
              <a:defRPr sz="1000"/>
            </a:lvl6pPr>
            <a:lvl7pPr marL="2968410" indent="0">
              <a:buNone/>
              <a:defRPr sz="1000"/>
            </a:lvl7pPr>
            <a:lvl8pPr marL="3463146" indent="0">
              <a:buNone/>
              <a:defRPr sz="1000"/>
            </a:lvl8pPr>
            <a:lvl9pPr marL="3957882" indent="0">
              <a:buNone/>
              <a:defRPr sz="1000"/>
            </a:lvl9pPr>
          </a:lstStyle>
          <a:p>
            <a:pPr lvl="0"/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style </a:t>
            </a:r>
            <a:r>
              <a:rPr lang="en-US" dirty="0" err="1" smtClean="0"/>
              <a:t>wzorca</a:t>
            </a:r>
            <a:r>
              <a:rPr lang="en-US" dirty="0" smtClean="0"/>
              <a:t> </a:t>
            </a:r>
            <a:r>
              <a:rPr lang="en-US" dirty="0" err="1" smtClean="0"/>
              <a:t>tekstu</a:t>
            </a:r>
            <a:endParaRPr lang="en-US" dirty="0" smtClean="0"/>
          </a:p>
        </p:txBody>
      </p:sp>
      <p:sp>
        <p:nvSpPr>
          <p:cNvPr id="9" name="Tytuł 8"/>
          <p:cNvSpPr>
            <a:spLocks noGrp="1"/>
          </p:cNvSpPr>
          <p:nvPr>
            <p:ph type="title"/>
          </p:nvPr>
        </p:nvSpPr>
        <p:spPr>
          <a:xfrm>
            <a:off x="420913" y="448072"/>
            <a:ext cx="9518400" cy="801590"/>
          </a:xfrm>
        </p:spPr>
        <p:txBody>
          <a:bodyPr/>
          <a:lstStyle/>
          <a:p>
            <a:r>
              <a:rPr lang="en-US" dirty="0" err="1" smtClean="0"/>
              <a:t>Kliknij</a:t>
            </a:r>
            <a:r>
              <a:rPr lang="en-US" dirty="0" smtClean="0"/>
              <a:t>, </a:t>
            </a:r>
            <a:r>
              <a:rPr lang="en-US" dirty="0" err="1" smtClean="0"/>
              <a:t>aby</a:t>
            </a:r>
            <a:r>
              <a:rPr lang="en-US" dirty="0" smtClean="0"/>
              <a:t> </a:t>
            </a:r>
            <a:r>
              <a:rPr lang="en-US" dirty="0" err="1" smtClean="0"/>
              <a:t>edytować</a:t>
            </a:r>
            <a:r>
              <a:rPr lang="en-US" dirty="0" smtClean="0"/>
              <a:t> </a:t>
            </a:r>
            <a:r>
              <a:rPr lang="en-US" dirty="0" err="1" smtClean="0"/>
              <a:t>styl</a:t>
            </a:r>
            <a:endParaRPr lang="en-US" dirty="0"/>
          </a:p>
        </p:txBody>
      </p:sp>
      <p:sp>
        <p:nvSpPr>
          <p:cNvPr id="11" name="Symbol zastępczy stopki 1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ymbol zastępczy numeru slajdu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E152CE7-BA42-4C1F-92C2-848305B03EFC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747086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slideLayout" Target="../slideLayouts/slideLayout76.xml"/><Relationship Id="rId47" Type="http://schemas.openxmlformats.org/officeDocument/2006/relationships/slideLayout" Target="../slideLayouts/slideLayout81.xml"/><Relationship Id="rId50" Type="http://schemas.openxmlformats.org/officeDocument/2006/relationships/slideLayout" Target="../slideLayouts/slideLayout84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slideLayout" Target="../slideLayouts/slideLayout74.xml"/><Relationship Id="rId45" Type="http://schemas.openxmlformats.org/officeDocument/2006/relationships/slideLayout" Target="../slideLayouts/slideLayout79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slideLayout" Target="../slideLayouts/slideLayout78.xml"/><Relationship Id="rId52" Type="http://schemas.openxmlformats.org/officeDocument/2006/relationships/slideLayout" Target="../slideLayouts/slideLayout86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77.xml"/><Relationship Id="rId48" Type="http://schemas.openxmlformats.org/officeDocument/2006/relationships/slideLayout" Target="../slideLayouts/slideLayout82.xml"/><Relationship Id="rId8" Type="http://schemas.openxmlformats.org/officeDocument/2006/relationships/slideLayout" Target="../slideLayouts/slideLayout42.xml"/><Relationship Id="rId51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4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75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49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28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334963" y="342900"/>
            <a:ext cx="9474200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Kliknij, aby edytować styl</a:t>
            </a: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20688" y="6848475"/>
            <a:ext cx="555148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89471">
              <a:defRPr lang="pl-PL" sz="1000" b="0">
                <a:latin typeface="+mn-lt"/>
                <a:ea typeface="Segoe UI"/>
                <a:cs typeface="Segoe U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9342438" y="6848475"/>
            <a:ext cx="59690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07A7E8BA-0FD8-4D2D-B3E6-EC3063C3EDCC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12" name="Prostokąt 4"/>
          <p:cNvSpPr/>
          <p:nvPr/>
        </p:nvSpPr>
        <p:spPr bwMode="auto">
          <a:xfrm>
            <a:off x="211138" y="223838"/>
            <a:ext cx="361950" cy="363537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13" name="Prostokąt 11"/>
          <p:cNvSpPr/>
          <p:nvPr/>
        </p:nvSpPr>
        <p:spPr bwMode="auto">
          <a:xfrm>
            <a:off x="120650" y="133350"/>
            <a:ext cx="361950" cy="363538"/>
          </a:xfrm>
          <a:custGeom>
            <a:avLst/>
            <a:gdLst>
              <a:gd name="connsiteX0" fmla="*/ 0 w 362566"/>
              <a:gd name="connsiteY0" fmla="*/ 0 h 362566"/>
              <a:gd name="connsiteX1" fmla="*/ 362566 w 362566"/>
              <a:gd name="connsiteY1" fmla="*/ 0 h 362566"/>
              <a:gd name="connsiteX2" fmla="*/ 362566 w 362566"/>
              <a:gd name="connsiteY2" fmla="*/ 362566 h 362566"/>
              <a:gd name="connsiteX3" fmla="*/ 0 w 362566"/>
              <a:gd name="connsiteY3" fmla="*/ 362566 h 362566"/>
              <a:gd name="connsiteX4" fmla="*/ 0 w 362566"/>
              <a:gd name="connsiteY4" fmla="*/ 0 h 362566"/>
              <a:gd name="connsiteX0" fmla="*/ 362566 w 454006"/>
              <a:gd name="connsiteY0" fmla="*/ 362566 h 454006"/>
              <a:gd name="connsiteX1" fmla="*/ 0 w 454006"/>
              <a:gd name="connsiteY1" fmla="*/ 362566 h 454006"/>
              <a:gd name="connsiteX2" fmla="*/ 0 w 454006"/>
              <a:gd name="connsiteY2" fmla="*/ 0 h 454006"/>
              <a:gd name="connsiteX3" fmla="*/ 362566 w 454006"/>
              <a:gd name="connsiteY3" fmla="*/ 0 h 454006"/>
              <a:gd name="connsiteX4" fmla="*/ 454006 w 454006"/>
              <a:gd name="connsiteY4" fmla="*/ 454006 h 454006"/>
              <a:gd name="connsiteX0" fmla="*/ 362566 w 362566"/>
              <a:gd name="connsiteY0" fmla="*/ 362566 h 362566"/>
              <a:gd name="connsiteX1" fmla="*/ 0 w 362566"/>
              <a:gd name="connsiteY1" fmla="*/ 362566 h 362566"/>
              <a:gd name="connsiteX2" fmla="*/ 0 w 362566"/>
              <a:gd name="connsiteY2" fmla="*/ 0 h 362566"/>
              <a:gd name="connsiteX3" fmla="*/ 362566 w 362566"/>
              <a:gd name="connsiteY3" fmla="*/ 0 h 362566"/>
              <a:gd name="connsiteX0" fmla="*/ 0 w 362566"/>
              <a:gd name="connsiteY0" fmla="*/ 362566 h 362566"/>
              <a:gd name="connsiteX1" fmla="*/ 0 w 362566"/>
              <a:gd name="connsiteY1" fmla="*/ 0 h 362566"/>
              <a:gd name="connsiteX2" fmla="*/ 362566 w 362566"/>
              <a:gd name="connsiteY2" fmla="*/ 0 h 362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2566" h="362566">
                <a:moveTo>
                  <a:pt x="0" y="362566"/>
                </a:moveTo>
                <a:lnTo>
                  <a:pt x="0" y="0"/>
                </a:lnTo>
                <a:lnTo>
                  <a:pt x="362566" y="0"/>
                </a:lnTo>
              </a:path>
            </a:pathLst>
          </a:custGeom>
          <a:noFill/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b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050" dirty="0">
              <a:latin typeface="+mn-lt"/>
              <a:cs typeface="+mn-cs"/>
            </a:endParaRPr>
          </a:p>
        </p:txBody>
      </p:sp>
      <p:sp>
        <p:nvSpPr>
          <p:cNvPr id="1033" name="Symbol zastępczy tekstu 3"/>
          <p:cNvSpPr>
            <a:spLocks noGrp="1"/>
          </p:cNvSpPr>
          <p:nvPr>
            <p:ph type="body" idx="1"/>
          </p:nvPr>
        </p:nvSpPr>
        <p:spPr bwMode="auto">
          <a:xfrm>
            <a:off x="449263" y="1701800"/>
            <a:ext cx="9474200" cy="1538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Kliknij, aby edytować style wzorca tekstu</a:t>
            </a:r>
          </a:p>
          <a:p>
            <a:pPr lvl="1"/>
            <a:r>
              <a:rPr lang="en-US" altLang="en-US" smtClean="0"/>
              <a:t>Drugi poziom</a:t>
            </a:r>
          </a:p>
          <a:p>
            <a:pPr lvl="2"/>
            <a:r>
              <a:rPr lang="en-US" altLang="en-US" smtClean="0"/>
              <a:t>Trzeci poziom</a:t>
            </a:r>
          </a:p>
          <a:p>
            <a:pPr lvl="3"/>
            <a:r>
              <a:rPr lang="en-US" altLang="en-US" smtClean="0"/>
              <a:t>Czwarty poziom</a:t>
            </a:r>
          </a:p>
          <a:p>
            <a:pPr lvl="4"/>
            <a:r>
              <a:rPr lang="en-US" altLang="en-US" smtClean="0"/>
              <a:t>Piąty poziom</a:t>
            </a:r>
          </a:p>
        </p:txBody>
      </p:sp>
      <p:pic>
        <p:nvPicPr>
          <p:cNvPr id="1034" name="Obraz 9"/>
          <p:cNvPicPr>
            <a:picLocks noChangeAspect="1"/>
          </p:cNvPicPr>
          <p:nvPr/>
        </p:nvPicPr>
        <p:blipFill>
          <a:blip r:embed="rId2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763" y="-60325"/>
            <a:ext cx="1781175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969" r:id="rId1"/>
    <p:sldLayoutId id="2147484970" r:id="rId2"/>
    <p:sldLayoutId id="2147484971" r:id="rId3"/>
    <p:sldLayoutId id="2147484972" r:id="rId4"/>
    <p:sldLayoutId id="2147484966" r:id="rId5"/>
    <p:sldLayoutId id="2147484973" r:id="rId6"/>
    <p:sldLayoutId id="2147484974" r:id="rId7"/>
    <p:sldLayoutId id="2147484975" r:id="rId8"/>
    <p:sldLayoutId id="2147484976" r:id="rId9"/>
    <p:sldLayoutId id="2147484967" r:id="rId10"/>
    <p:sldLayoutId id="2147484968" r:id="rId11"/>
    <p:sldLayoutId id="2147484980" r:id="rId12"/>
    <p:sldLayoutId id="2147485003" r:id="rId13"/>
    <p:sldLayoutId id="2147485002" r:id="rId14"/>
    <p:sldLayoutId id="2147485023" r:id="rId15"/>
    <p:sldLayoutId id="2147485024" r:id="rId16"/>
    <p:sldLayoutId id="2147485025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89013" rtl="0" eaLnBrk="0" fontAlgn="base" hangingPunct="0">
        <a:spcBef>
          <a:spcPct val="0"/>
        </a:spcBef>
        <a:spcAft>
          <a:spcPct val="0"/>
        </a:spcAft>
        <a:defRPr lang="pl-PL" sz="2600" kern="1200">
          <a:solidFill>
            <a:srgbClr val="377A00"/>
          </a:solidFill>
          <a:latin typeface="+mj-lt"/>
          <a:ea typeface="Segoe UI"/>
          <a:cs typeface="Segoe UI"/>
        </a:defRPr>
      </a:lvl1pPr>
      <a:lvl2pPr algn="l" defTabSz="989013" rtl="0" eaLnBrk="0" fontAlgn="base" hangingPunct="0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2pPr>
      <a:lvl3pPr algn="l" defTabSz="989013" rtl="0" eaLnBrk="0" fontAlgn="base" hangingPunct="0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3pPr>
      <a:lvl4pPr algn="l" defTabSz="989013" rtl="0" eaLnBrk="0" fontAlgn="base" hangingPunct="0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4pPr>
      <a:lvl5pPr algn="l" defTabSz="989013" rtl="0" eaLnBrk="0" fontAlgn="base" hangingPunct="0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5pPr>
      <a:lvl6pPr marL="457200" algn="l" defTabSz="989013" rtl="0" fontAlgn="base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6pPr>
      <a:lvl7pPr marL="914400" algn="l" defTabSz="989013" rtl="0" fontAlgn="base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7pPr>
      <a:lvl8pPr marL="1371600" algn="l" defTabSz="989013" rtl="0" fontAlgn="base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8pPr>
      <a:lvl9pPr marL="1828800" algn="l" defTabSz="989013" rtl="0" fontAlgn="base">
        <a:spcBef>
          <a:spcPct val="0"/>
        </a:spcBef>
        <a:spcAft>
          <a:spcPct val="0"/>
        </a:spcAft>
        <a:defRPr sz="2600">
          <a:solidFill>
            <a:srgbClr val="377A00"/>
          </a:solidFill>
          <a:latin typeface="Segoe UI" pitchFamily="34" charset="0"/>
          <a:cs typeface="Segoe UI" pitchFamily="34" charset="0"/>
        </a:defRPr>
      </a:lvl9pPr>
    </p:titleStyle>
    <p:bodyStyle>
      <a:lvl1pPr algn="l" defTabSz="989013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361950" algn="l" defTabSz="989013" rtl="0" eaLnBrk="0" fontAlgn="base" hangingPunct="0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lang="pl-PL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307975" algn="l" defTabSz="989013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139825" indent="-339725" algn="l" defTabSz="989013" rtl="0" eaLnBrk="0" fontAlgn="base" hangingPunct="0">
        <a:spcBef>
          <a:spcPct val="0"/>
        </a:spcBef>
        <a:spcAft>
          <a:spcPct val="0"/>
        </a:spcAft>
        <a:buSzPct val="8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225675" indent="-246063" algn="l" defTabSz="989013" rtl="0" eaLnBrk="0" fontAlgn="base" hangingPunct="0">
        <a:spcBef>
          <a:spcPct val="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043" indent="-247367" algn="l" defTabSz="9894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15778" indent="-247367" algn="l" defTabSz="9894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10513" indent="-247367" algn="l" defTabSz="9894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05250" indent="-247367" algn="l" defTabSz="989471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4735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9471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84206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78939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73675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10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63146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57882" algn="l" defTabSz="98947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851"/>
            <a:ext cx="10148888" cy="7178001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3828" y="637258"/>
            <a:ext cx="7156055" cy="138072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28" y="2258616"/>
            <a:ext cx="7156055" cy="4056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997711" y="6315461"/>
            <a:ext cx="759118" cy="3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6/25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3828" y="6315461"/>
            <a:ext cx="5242270" cy="3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4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51057" y="6315461"/>
            <a:ext cx="568826" cy="3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49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51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5" r:id="rId1"/>
    <p:sldLayoutId id="2147485006" r:id="rId2"/>
    <p:sldLayoutId id="2147485007" r:id="rId3"/>
    <p:sldLayoutId id="2147485008" r:id="rId4"/>
    <p:sldLayoutId id="2147485009" r:id="rId5"/>
    <p:sldLayoutId id="2147485010" r:id="rId6"/>
    <p:sldLayoutId id="2147485011" r:id="rId7"/>
    <p:sldLayoutId id="2147485012" r:id="rId8"/>
    <p:sldLayoutId id="2147485013" r:id="rId9"/>
    <p:sldLayoutId id="2147485014" r:id="rId10"/>
    <p:sldLayoutId id="2147485015" r:id="rId11"/>
    <p:sldLayoutId id="2147485016" r:id="rId12"/>
    <p:sldLayoutId id="2147485017" r:id="rId13"/>
    <p:sldLayoutId id="2147485018" r:id="rId14"/>
    <p:sldLayoutId id="2147485019" r:id="rId15"/>
    <p:sldLayoutId id="2147485020" r:id="rId16"/>
    <p:sldLayoutId id="2147485021" r:id="rId17"/>
  </p:sldLayoutIdLst>
  <p:txStyles>
    <p:titleStyle>
      <a:lvl1pPr algn="l" defTabSz="380573" rtl="0" eaLnBrk="1" latinLnBrk="0" hangingPunct="1">
        <a:spcBef>
          <a:spcPct val="0"/>
        </a:spcBef>
        <a:buNone/>
        <a:defRPr sz="2997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430" indent="-285430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98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18432" indent="-237858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332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51433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16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332006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712580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093153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473726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854300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234873" indent="-190287" algn="l" defTabSz="380573" rtl="0" eaLnBrk="1" latinLnBrk="0" hangingPunct="1">
        <a:spcBef>
          <a:spcPts val="832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99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1pPr>
      <a:lvl2pPr marL="380573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2pPr>
      <a:lvl3pPr marL="761147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3pPr>
      <a:lvl4pPr marL="1141720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4pPr>
      <a:lvl5pPr marL="1522293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5pPr>
      <a:lvl6pPr marL="1902866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6pPr>
      <a:lvl7pPr marL="2283440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7pPr>
      <a:lvl8pPr marL="2664013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8pPr>
      <a:lvl9pPr marL="3044586" algn="l" defTabSz="380573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88944" y="1"/>
            <a:ext cx="7493290" cy="723553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pPr rt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7093883"/>
            <a:ext cx="10148888" cy="1306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582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865388" y="6701571"/>
            <a:ext cx="2283500" cy="3816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9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AA81F-3BE1-42F8-A306-480965D678F0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71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7" r:id="rId1"/>
    <p:sldLayoutId id="2147485028" r:id="rId2"/>
    <p:sldLayoutId id="2147485029" r:id="rId3"/>
    <p:sldLayoutId id="2147485030" r:id="rId4"/>
    <p:sldLayoutId id="2147485031" r:id="rId5"/>
    <p:sldLayoutId id="2147485032" r:id="rId6"/>
    <p:sldLayoutId id="2147485033" r:id="rId7"/>
    <p:sldLayoutId id="2147485034" r:id="rId8"/>
    <p:sldLayoutId id="2147485035" r:id="rId9"/>
    <p:sldLayoutId id="2147485036" r:id="rId10"/>
    <p:sldLayoutId id="2147485037" r:id="rId11"/>
    <p:sldLayoutId id="2147485038" r:id="rId12"/>
    <p:sldLayoutId id="2147485039" r:id="rId13"/>
    <p:sldLayoutId id="2147485040" r:id="rId14"/>
    <p:sldLayoutId id="2147485041" r:id="rId15"/>
    <p:sldLayoutId id="2147485042" r:id="rId16"/>
    <p:sldLayoutId id="2147485043" r:id="rId17"/>
    <p:sldLayoutId id="2147485044" r:id="rId18"/>
    <p:sldLayoutId id="2147485045" r:id="rId19"/>
    <p:sldLayoutId id="2147485046" r:id="rId20"/>
    <p:sldLayoutId id="2147485047" r:id="rId21"/>
    <p:sldLayoutId id="2147485048" r:id="rId22"/>
    <p:sldLayoutId id="2147485049" r:id="rId23"/>
    <p:sldLayoutId id="2147485050" r:id="rId24"/>
    <p:sldLayoutId id="2147485051" r:id="rId25"/>
    <p:sldLayoutId id="2147485052" r:id="rId26"/>
    <p:sldLayoutId id="2147485053" r:id="rId27"/>
    <p:sldLayoutId id="2147485054" r:id="rId28"/>
    <p:sldLayoutId id="2147485055" r:id="rId29"/>
    <p:sldLayoutId id="2147485056" r:id="rId30"/>
    <p:sldLayoutId id="2147485057" r:id="rId31"/>
    <p:sldLayoutId id="2147485058" r:id="rId32"/>
    <p:sldLayoutId id="2147485059" r:id="rId33"/>
    <p:sldLayoutId id="2147485060" r:id="rId34"/>
    <p:sldLayoutId id="2147485061" r:id="rId35"/>
    <p:sldLayoutId id="2147485062" r:id="rId36"/>
    <p:sldLayoutId id="2147485063" r:id="rId37"/>
    <p:sldLayoutId id="2147485064" r:id="rId38"/>
    <p:sldLayoutId id="2147485065" r:id="rId39"/>
    <p:sldLayoutId id="2147485066" r:id="rId40"/>
    <p:sldLayoutId id="2147485067" r:id="rId41"/>
    <p:sldLayoutId id="2147485068" r:id="rId42"/>
    <p:sldLayoutId id="2147485069" r:id="rId43"/>
    <p:sldLayoutId id="2147485070" r:id="rId44"/>
    <p:sldLayoutId id="2147485071" r:id="rId45"/>
    <p:sldLayoutId id="2147485072" r:id="rId46"/>
    <p:sldLayoutId id="2147485073" r:id="rId47"/>
    <p:sldLayoutId id="2147485074" r:id="rId48"/>
    <p:sldLayoutId id="2147485075" r:id="rId49"/>
    <p:sldLayoutId id="2147485076" r:id="rId50"/>
    <p:sldLayoutId id="2147485077" r:id="rId51"/>
    <p:sldLayoutId id="2147485078" r:id="rId5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1147" rtl="0" eaLnBrk="1" latinLnBrk="0" hangingPunct="1">
        <a:lnSpc>
          <a:spcPct val="90000"/>
        </a:lnSpc>
        <a:spcBef>
          <a:spcPct val="0"/>
        </a:spcBef>
        <a:buNone/>
        <a:defRPr lang="en-US" sz="1831" b="0" i="0" kern="1200" cap="none" baseline="0" dirty="0" smtClean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761147" rtl="0" eaLnBrk="1" latinLnBrk="0" hangingPunct="1">
        <a:lnSpc>
          <a:spcPct val="90000"/>
        </a:lnSpc>
        <a:spcBef>
          <a:spcPts val="832"/>
        </a:spcBef>
        <a:buFont typeface="Arial"/>
        <a:buNone/>
        <a:defRPr sz="2331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380573" indent="0" algn="l" defTabSz="761147" rtl="0" eaLnBrk="1" latinLnBrk="0" hangingPunct="1">
        <a:lnSpc>
          <a:spcPct val="90000"/>
        </a:lnSpc>
        <a:spcBef>
          <a:spcPts val="416"/>
        </a:spcBef>
        <a:buFont typeface="Arial"/>
        <a:buNone/>
        <a:defRPr sz="1998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761147" indent="0" algn="l" defTabSz="761147" rtl="0" eaLnBrk="1" latinLnBrk="0" hangingPunct="1">
        <a:lnSpc>
          <a:spcPct val="90000"/>
        </a:lnSpc>
        <a:spcBef>
          <a:spcPts val="416"/>
        </a:spcBef>
        <a:buFont typeface="Arial"/>
        <a:buNone/>
        <a:defRPr sz="1665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141720" indent="0" algn="l" defTabSz="761147" rtl="0" eaLnBrk="1" latinLnBrk="0" hangingPunct="1">
        <a:lnSpc>
          <a:spcPct val="90000"/>
        </a:lnSpc>
        <a:spcBef>
          <a:spcPts val="416"/>
        </a:spcBef>
        <a:buFont typeface="Arial"/>
        <a:buNone/>
        <a:defRPr sz="1498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522293" indent="0" algn="l" defTabSz="761147" rtl="0" eaLnBrk="1" latinLnBrk="0" hangingPunct="1">
        <a:lnSpc>
          <a:spcPct val="90000"/>
        </a:lnSpc>
        <a:spcBef>
          <a:spcPts val="416"/>
        </a:spcBef>
        <a:buFont typeface="Arial"/>
        <a:buNone/>
        <a:defRPr sz="1498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093153" indent="-190287" algn="l" defTabSz="761147" rtl="0" eaLnBrk="1" latinLnBrk="0" hangingPunct="1">
        <a:lnSpc>
          <a:spcPct val="90000"/>
        </a:lnSpc>
        <a:spcBef>
          <a:spcPts val="416"/>
        </a:spcBef>
        <a:buFont typeface="Arial"/>
        <a:buChar char="•"/>
        <a:defRPr sz="1498" kern="1200">
          <a:solidFill>
            <a:schemeClr val="tx1"/>
          </a:solidFill>
          <a:latin typeface="+mn-lt"/>
          <a:ea typeface="+mn-ea"/>
          <a:cs typeface="+mn-cs"/>
        </a:defRPr>
      </a:lvl6pPr>
      <a:lvl7pPr marL="2473726" indent="-190287" algn="l" defTabSz="761147" rtl="0" eaLnBrk="1" latinLnBrk="0" hangingPunct="1">
        <a:lnSpc>
          <a:spcPct val="90000"/>
        </a:lnSpc>
        <a:spcBef>
          <a:spcPts val="416"/>
        </a:spcBef>
        <a:buFont typeface="Arial"/>
        <a:buChar char="•"/>
        <a:defRPr sz="1498" kern="1200">
          <a:solidFill>
            <a:schemeClr val="tx1"/>
          </a:solidFill>
          <a:latin typeface="+mn-lt"/>
          <a:ea typeface="+mn-ea"/>
          <a:cs typeface="+mn-cs"/>
        </a:defRPr>
      </a:lvl7pPr>
      <a:lvl8pPr marL="2854300" indent="-190287" algn="l" defTabSz="761147" rtl="0" eaLnBrk="1" latinLnBrk="0" hangingPunct="1">
        <a:lnSpc>
          <a:spcPct val="90000"/>
        </a:lnSpc>
        <a:spcBef>
          <a:spcPts val="416"/>
        </a:spcBef>
        <a:buFont typeface="Arial"/>
        <a:buChar char="•"/>
        <a:defRPr sz="1498" kern="1200">
          <a:solidFill>
            <a:schemeClr val="tx1"/>
          </a:solidFill>
          <a:latin typeface="+mn-lt"/>
          <a:ea typeface="+mn-ea"/>
          <a:cs typeface="+mn-cs"/>
        </a:defRPr>
      </a:lvl8pPr>
      <a:lvl9pPr marL="3234873" indent="-190287" algn="l" defTabSz="761147" rtl="0" eaLnBrk="1" latinLnBrk="0" hangingPunct="1">
        <a:lnSpc>
          <a:spcPct val="90000"/>
        </a:lnSpc>
        <a:spcBef>
          <a:spcPts val="416"/>
        </a:spcBef>
        <a:buFont typeface="Arial"/>
        <a:buChar char="•"/>
        <a:defRPr sz="14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1pPr>
      <a:lvl2pPr marL="380573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2pPr>
      <a:lvl3pPr marL="761147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3pPr>
      <a:lvl4pPr marL="1141720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4pPr>
      <a:lvl5pPr marL="1522293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5pPr>
      <a:lvl6pPr marL="1902866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6pPr>
      <a:lvl7pPr marL="2283440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7pPr>
      <a:lvl8pPr marL="2664013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8pPr>
      <a:lvl9pPr marL="3044586" algn="l" defTabSz="761147" rtl="0" eaLnBrk="1" latinLnBrk="0" hangingPunct="1">
        <a:defRPr sz="14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3884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3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5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églalap 4"/>
          <p:cNvSpPr/>
          <p:nvPr/>
        </p:nvSpPr>
        <p:spPr>
          <a:xfrm>
            <a:off x="3338622" y="2749236"/>
            <a:ext cx="667724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800" b="1" kern="0" dirty="0" smtClean="0">
                <a:solidFill>
                  <a:srgbClr val="00703C"/>
                </a:solidFill>
                <a:latin typeface="+mj-lt"/>
                <a:ea typeface="Segoe UI"/>
                <a:cs typeface="Segoe UI"/>
              </a:rPr>
              <a:t>Tartalomjegyzék</a:t>
            </a:r>
          </a:p>
          <a:p>
            <a:endParaRPr lang="hu-HU" sz="2800" b="1" kern="0" dirty="0">
              <a:solidFill>
                <a:srgbClr val="00703C"/>
              </a:solidFill>
              <a:latin typeface="+mj-lt"/>
              <a:ea typeface="Segoe UI"/>
              <a:cs typeface="Segoe UI"/>
            </a:endParaRPr>
          </a:p>
          <a:p>
            <a:pPr marL="514350" indent="-514350">
              <a:buAutoNum type="arabicPeriod"/>
            </a:pPr>
            <a:r>
              <a:rPr lang="hu-HU" sz="2000" u="sng" kern="0" dirty="0" smtClean="0">
                <a:latin typeface="+mj-lt"/>
                <a:ea typeface="Segoe UI"/>
                <a:cs typeface="Segoe UI"/>
              </a:rPr>
              <a:t>Személyi kölcsön</a:t>
            </a:r>
          </a:p>
          <a:p>
            <a:pPr marL="514350" indent="-514350">
              <a:buAutoNum type="arabicPeriod"/>
            </a:pPr>
            <a:r>
              <a:rPr lang="hu-HU" sz="2000" u="sng" kern="0" dirty="0" smtClean="0">
                <a:latin typeface="+mj-lt"/>
                <a:ea typeface="Segoe UI"/>
                <a:cs typeface="Segoe UI"/>
              </a:rPr>
              <a:t>Babaváró kölcsön</a:t>
            </a:r>
          </a:p>
          <a:p>
            <a:pPr marL="514350" indent="-514350">
              <a:buAutoNum type="arabicPeriod"/>
            </a:pPr>
            <a:r>
              <a:rPr lang="hu-HU" sz="2000" u="sng" kern="0" dirty="0" err="1" smtClean="0">
                <a:latin typeface="+mj-lt"/>
                <a:ea typeface="Segoe UI"/>
                <a:cs typeface="Segoe UI"/>
              </a:rPr>
              <a:t>Mikrovállalati</a:t>
            </a:r>
            <a:r>
              <a:rPr lang="hu-HU" sz="2000" u="sng" kern="0" dirty="0" smtClean="0">
                <a:latin typeface="+mj-lt"/>
                <a:ea typeface="Segoe UI"/>
                <a:cs typeface="Segoe UI"/>
              </a:rPr>
              <a:t> finanszírozás</a:t>
            </a:r>
          </a:p>
          <a:p>
            <a:pPr marL="1008063" lvl="1" indent="-514350">
              <a:buAutoNum type="arabicPeriod"/>
            </a:pPr>
            <a:r>
              <a:rPr lang="hu-HU" sz="2000" kern="0" dirty="0" smtClean="0">
                <a:latin typeface="+mj-lt"/>
                <a:ea typeface="Segoe UI"/>
                <a:cs typeface="Segoe UI"/>
              </a:rPr>
              <a:t>Turbó vállalkozói kölcsön</a:t>
            </a:r>
          </a:p>
          <a:p>
            <a:pPr marL="1008063" lvl="1" indent="-514350">
              <a:buAutoNum type="arabicPeriod"/>
            </a:pPr>
            <a:r>
              <a:rPr lang="hu-HU" sz="2000" kern="0" dirty="0" smtClean="0">
                <a:latin typeface="+mj-lt"/>
                <a:ea typeface="Segoe UI"/>
                <a:cs typeface="Segoe UI"/>
              </a:rPr>
              <a:t>NHP </a:t>
            </a:r>
            <a:r>
              <a:rPr lang="hu-HU" sz="2000" kern="0" dirty="0" smtClean="0">
                <a:latin typeface="+mj-lt"/>
                <a:ea typeface="Segoe UI"/>
                <a:cs typeface="Segoe UI"/>
              </a:rPr>
              <a:t>Hajrá</a:t>
            </a:r>
          </a:p>
          <a:p>
            <a:pPr marL="1008063" lvl="1" indent="-514350">
              <a:buAutoNum type="arabicPeriod"/>
            </a:pPr>
            <a:r>
              <a:rPr lang="hu-HU" sz="2000" kern="0" dirty="0" smtClean="0">
                <a:latin typeface="+mj-lt"/>
                <a:ea typeface="Segoe UI"/>
                <a:cs typeface="Segoe UI"/>
              </a:rPr>
              <a:t>SZKP+</a:t>
            </a:r>
            <a:endParaRPr lang="hu-HU" sz="2000" kern="0" dirty="0">
              <a:latin typeface="+mj-lt"/>
              <a:ea typeface="Segoe UI"/>
              <a:cs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3918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AutoShape 59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4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476661" y="2844312"/>
            <a:ext cx="6008983" cy="602273"/>
          </a:xfrm>
          <a:ln/>
        </p:spPr>
        <p:txBody>
          <a:bodyPr/>
          <a:lstStyle/>
          <a:p>
            <a:pPr defTabSz="989655" fontAlgn="auto">
              <a:spcAft>
                <a:spcPts val="0"/>
              </a:spcAft>
              <a:defRPr/>
            </a:pP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3. </a:t>
            </a:r>
            <a:r>
              <a:rPr lang="hu-HU" sz="3600" kern="0" dirty="0" err="1" smtClean="0">
                <a:solidFill>
                  <a:srgbClr val="00703C"/>
                </a:solidFill>
                <a:sym typeface="Segoe UI"/>
              </a:rPr>
              <a:t>Mikrovállalati</a:t>
            </a: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 finanszírozás</a:t>
            </a:r>
            <a:endParaRPr lang="en-GB" sz="3600" kern="0" dirty="0">
              <a:solidFill>
                <a:srgbClr val="00703C"/>
              </a:solidFill>
              <a:sym typeface="Segoe U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rtalom helye 4"/>
          <p:cNvSpPr>
            <a:spLocks noGrp="1"/>
          </p:cNvSpPr>
          <p:nvPr>
            <p:ph idx="1"/>
          </p:nvPr>
        </p:nvSpPr>
        <p:spPr>
          <a:xfrm>
            <a:off x="992038" y="1388853"/>
            <a:ext cx="7996688" cy="5281999"/>
          </a:xfrm>
        </p:spPr>
        <p:txBody>
          <a:bodyPr/>
          <a:lstStyle/>
          <a:p>
            <a:pPr algn="just"/>
            <a:endParaRPr lang="hu-HU" dirty="0" smtClean="0">
              <a:latin typeface="+mn-lt"/>
            </a:endParaRPr>
          </a:p>
          <a:p>
            <a:pPr algn="just"/>
            <a:endParaRPr lang="hu-HU" dirty="0" smtClean="0">
              <a:latin typeface="+mn-lt"/>
            </a:endParaRPr>
          </a:p>
          <a:p>
            <a:pPr algn="just"/>
            <a:r>
              <a:rPr lang="hu-HU" sz="1800" b="1" dirty="0" smtClean="0">
                <a:latin typeface="+mn-lt"/>
              </a:rPr>
              <a:t>SBHU Szegmentációs irányelvek alapján </a:t>
            </a:r>
          </a:p>
          <a:p>
            <a:pPr algn="just"/>
            <a:endParaRPr lang="hu-HU" dirty="0" smtClean="0">
              <a:latin typeface="+mn-lt"/>
            </a:endParaRPr>
          </a:p>
          <a:p>
            <a:pPr algn="just"/>
            <a:r>
              <a:rPr lang="hu-HU" dirty="0" err="1" smtClean="0">
                <a:latin typeface="+mn-lt"/>
              </a:rPr>
              <a:t>Mikrovállalatnak</a:t>
            </a:r>
            <a:r>
              <a:rPr lang="hu-HU" dirty="0" smtClean="0">
                <a:latin typeface="+mn-lt"/>
              </a:rPr>
              <a:t> minősül az a cég, mely éves konszolidált árbevétel &lt; </a:t>
            </a:r>
            <a:r>
              <a:rPr lang="hu-HU" b="1" dirty="0" smtClean="0">
                <a:latin typeface="+mn-lt"/>
              </a:rPr>
              <a:t>600 millió forint </a:t>
            </a:r>
            <a:r>
              <a:rPr lang="hu-HU" dirty="0" smtClean="0">
                <a:latin typeface="+mn-lt"/>
              </a:rPr>
              <a:t>(+/- 10 % az EUR/HUF árfolyam (MNB közép) ingadozása miatt)</a:t>
            </a:r>
          </a:p>
        </p:txBody>
      </p:sp>
      <p:sp>
        <p:nvSpPr>
          <p:cNvPr id="7" name="Cím 1"/>
          <p:cNvSpPr txBox="1">
            <a:spLocks/>
          </p:cNvSpPr>
          <p:nvPr/>
        </p:nvSpPr>
        <p:spPr bwMode="auto">
          <a:xfrm>
            <a:off x="346618" y="282451"/>
            <a:ext cx="9473975" cy="80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marL="0" marR="0" lvl="0" indent="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hu-HU" sz="2600" dirty="0" err="1" smtClean="0">
                <a:solidFill>
                  <a:srgbClr val="00703C"/>
                </a:solidFill>
                <a:latin typeface="+mj-lt"/>
                <a:ea typeface="Segoe UI"/>
                <a:cs typeface="Segoe UI"/>
              </a:rPr>
              <a:t>Mikrovállalkozások</a:t>
            </a:r>
            <a:endParaRPr lang="hu-HU" sz="2600" dirty="0" smtClean="0">
              <a:solidFill>
                <a:srgbClr val="00703C"/>
              </a:solidFill>
              <a:latin typeface="+mj-lt"/>
              <a:ea typeface="Segoe UI"/>
              <a:cs typeface="Segoe UI"/>
            </a:endParaRPr>
          </a:p>
          <a:p>
            <a:pPr marL="0" marR="0" lvl="0" indent="0" algn="ctr" defTabSz="9890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2600" b="0" i="0" u="none" strike="noStrike" kern="1200" cap="none" spc="0" normalizeH="0" baseline="0" noProof="0" dirty="0">
              <a:ln>
                <a:noFill/>
              </a:ln>
              <a:solidFill>
                <a:srgbClr val="377A00"/>
              </a:solidFill>
              <a:effectLst/>
              <a:uLnTx/>
              <a:uFillTx/>
              <a:latin typeface="Arial" pitchFamily="34" charset="0"/>
              <a:ea typeface="Segoe UI"/>
              <a:cs typeface="Segoe U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536950" y="2914650"/>
            <a:ext cx="6332538" cy="1147763"/>
          </a:xfrm>
        </p:spPr>
        <p:txBody>
          <a:bodyPr/>
          <a:lstStyle/>
          <a:p>
            <a:pPr defTabSz="989655" fontAlgn="auto">
              <a:spcAft>
                <a:spcPts val="0"/>
              </a:spcAft>
              <a:defRPr/>
            </a:pP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3.1 Turbó </a:t>
            </a:r>
            <a:r>
              <a:rPr lang="hu-HU" sz="3600" kern="0" dirty="0">
                <a:solidFill>
                  <a:srgbClr val="00703C"/>
                </a:solidFill>
                <a:sym typeface="Segoe UI"/>
              </a:rPr>
              <a:t>vállalkozói kölcsön</a:t>
            </a:r>
            <a:r>
              <a:rPr lang="hu-HU" sz="4000" b="1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4000" b="1" kern="0" dirty="0" smtClean="0">
                <a:solidFill>
                  <a:srgbClr val="00703C"/>
                </a:solidFill>
                <a:sym typeface="Segoe UI"/>
              </a:rPr>
            </a:br>
            <a:endParaRPr lang="en-US" sz="2400" kern="0" dirty="0">
              <a:solidFill>
                <a:srgbClr val="00703C"/>
              </a:solidFill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14677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91816" y="229541"/>
            <a:ext cx="9473975" cy="801590"/>
          </a:xfrm>
        </p:spPr>
        <p:txBody>
          <a:bodyPr/>
          <a:lstStyle/>
          <a:p>
            <a:r>
              <a:rPr lang="hu-HU" sz="2300" dirty="0">
                <a:solidFill>
                  <a:srgbClr val="00703C"/>
                </a:solidFill>
              </a:rPr>
              <a:t>Termékjellemzők</a:t>
            </a:r>
          </a:p>
        </p:txBody>
      </p:sp>
      <p:graphicFrame>
        <p:nvGraphicFramePr>
          <p:cNvPr id="4" name="Tábláza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6509481"/>
              </p:ext>
            </p:extLst>
          </p:nvPr>
        </p:nvGraphicFramePr>
        <p:xfrm>
          <a:off x="343633" y="811200"/>
          <a:ext cx="9422157" cy="603727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847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374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84370"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Jellemző megnevezése</a:t>
                      </a:r>
                      <a:endParaRPr lang="hu-H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Jellemző leírása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Hitelcél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árgyi eszköz- illetve forgóeszköz- beszerzési célú</a:t>
                      </a:r>
                      <a:endParaRPr lang="hu-H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4170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Hitelösszeg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1-15</a:t>
                      </a:r>
                      <a:r>
                        <a:rPr lang="hu-HU" sz="1400" baseline="0" dirty="0" smtClean="0"/>
                        <a:t> millió HUF</a:t>
                      </a:r>
                    </a:p>
                    <a:p>
                      <a:r>
                        <a:rPr lang="hu-HU" sz="1400" baseline="0" dirty="0" smtClean="0"/>
                        <a:t>(10ezer HUF-fal osztható összeg)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7755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Devizanem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HUF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Futamidő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13-60 hónap, meglévő ügyfél esetén 72 hónap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4170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Törlesztés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Havi,</a:t>
                      </a:r>
                      <a:r>
                        <a:rPr lang="hu-HU" sz="1400" baseline="0" dirty="0" smtClean="0"/>
                        <a:t> annuitás, naptári hó utolsó banki munkanapja</a:t>
                      </a:r>
                    </a:p>
                    <a:p>
                      <a:r>
                        <a:rPr lang="hu-HU" sz="1400" baseline="0" dirty="0" smtClean="0"/>
                        <a:t>(folyósítás hónapjában csak kamatfizetés)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Lejárat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Mindig adott év,</a:t>
                      </a:r>
                      <a:r>
                        <a:rPr lang="hu-HU" sz="1400" baseline="0" dirty="0" smtClean="0"/>
                        <a:t> adott hónap utolsó banki munkanapja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Kamatozás</a:t>
                      </a:r>
                      <a:r>
                        <a:rPr lang="hu-HU" sz="1400" b="0" baseline="0" dirty="0" smtClean="0"/>
                        <a:t> típusa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Fix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Kamatláb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7,99 %</a:t>
                      </a:r>
                      <a:endParaRPr lang="hu-H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62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Kezelési költség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hu-HU" sz="1400" dirty="0" smtClean="0"/>
                        <a:t>0%</a:t>
                      </a:r>
                      <a:r>
                        <a:rPr lang="hu-HU" sz="1400" baseline="0" dirty="0" smtClean="0"/>
                        <a:t> / 1,5% / 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10327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Kezelési költség / kedvezmények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indent="-342900">
                        <a:buFont typeface="Wingdings" panose="05000000000000000000" pitchFamily="2" charset="2"/>
                        <a:buChar char="Ø"/>
                      </a:pPr>
                      <a:r>
                        <a:rPr lang="hu-HU" sz="1400" baseline="0" dirty="0" smtClean="0"/>
                        <a:t>1,5% kedvezmény vállalt számlaforgalomért*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Ø"/>
                      </a:pPr>
                      <a:r>
                        <a:rPr lang="hu-HU" sz="1400" baseline="0" dirty="0" smtClean="0"/>
                        <a:t>1,5% kedvezmény, amennyiben maradéktalanul megfelel az ügyfél a kockázati feltételeknek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hu-HU" sz="1000" i="1" baseline="0" dirty="0" smtClean="0"/>
                        <a:t>*Számlaforgalom = havi 1db NAV felé indított utalás / hó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824709">
                <a:tc>
                  <a:txBody>
                    <a:bodyPr/>
                    <a:lstStyle/>
                    <a:p>
                      <a:r>
                        <a:rPr lang="hu-HU" sz="1400" b="0" dirty="0" smtClean="0"/>
                        <a:t>Biztosíték</a:t>
                      </a:r>
                      <a:endParaRPr lang="hu-HU" sz="1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342900" indent="-342900">
                        <a:buFont typeface="Wingdings" panose="05000000000000000000" pitchFamily="2" charset="2"/>
                        <a:buChar char="Ø"/>
                      </a:pPr>
                      <a:r>
                        <a:rPr lang="hu-HU" sz="1400" baseline="0" dirty="0" smtClean="0"/>
                        <a:t>Társas vállalkozások esetén 50% tulajdonosi kezesség (min. 23. életévét betöltötte)</a:t>
                      </a:r>
                    </a:p>
                    <a:p>
                      <a:pPr marL="342900" indent="-342900">
                        <a:buFont typeface="Wingdings" panose="05000000000000000000" pitchFamily="2" charset="2"/>
                        <a:buChar char="Ø"/>
                      </a:pPr>
                      <a:r>
                        <a:rPr lang="hu-HU" sz="1400" baseline="0" dirty="0" smtClean="0"/>
                        <a:t>Felhatalmazó levél (vagy 2% extra kamat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7140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19176" y="246959"/>
            <a:ext cx="9473975" cy="801590"/>
          </a:xfrm>
        </p:spPr>
        <p:txBody>
          <a:bodyPr/>
          <a:lstStyle/>
          <a:p>
            <a:r>
              <a:rPr lang="hu-HU" sz="2300" dirty="0">
                <a:solidFill>
                  <a:srgbClr val="00703C"/>
                </a:solidFill>
              </a:rPr>
              <a:t>Termék előnyök</a:t>
            </a:r>
          </a:p>
        </p:txBody>
      </p:sp>
      <p:sp>
        <p:nvSpPr>
          <p:cNvPr id="4" name="Téglalap 3"/>
          <p:cNvSpPr/>
          <p:nvPr/>
        </p:nvSpPr>
        <p:spPr>
          <a:xfrm>
            <a:off x="319176" y="1212160"/>
            <a:ext cx="9230265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Bankok körében kevésbé „népszerű” (</a:t>
            </a:r>
            <a:r>
              <a:rPr lang="hu-HU" sz="2000" dirty="0" err="1">
                <a:latin typeface="+mj-lt"/>
                <a:ea typeface="Segoe UI"/>
                <a:cs typeface="Segoe UI"/>
              </a:rPr>
              <a:t>KATA-s</a:t>
            </a:r>
            <a:r>
              <a:rPr lang="hu-HU" sz="2000" dirty="0">
                <a:latin typeface="+mj-lt"/>
                <a:ea typeface="Segoe UI"/>
                <a:cs typeface="Segoe UI"/>
              </a:rPr>
              <a:t>) ügyfelek is forráshoz juthatnak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Ha gyorsan kell forrás, akár magasabb áron, vagy nem éri meg </a:t>
            </a:r>
            <a:r>
              <a:rPr lang="hu-HU" sz="2000" dirty="0" err="1" smtClean="0">
                <a:latin typeface="+mj-lt"/>
                <a:ea typeface="Segoe UI"/>
                <a:cs typeface="Segoe UI"/>
              </a:rPr>
              <a:t>jelzálogosítani</a:t>
            </a:r>
            <a:r>
              <a:rPr lang="hu-HU" sz="2000" dirty="0" smtClean="0">
                <a:latin typeface="+mj-lt"/>
                <a:ea typeface="Segoe UI"/>
                <a:cs typeface="Segoe UI"/>
              </a:rPr>
              <a:t> </a:t>
            </a:r>
            <a:r>
              <a:rPr lang="hu-HU" sz="2000" dirty="0">
                <a:latin typeface="+mj-lt"/>
                <a:ea typeface="Segoe UI"/>
                <a:cs typeface="Segoe UI"/>
              </a:rPr>
              <a:t>a (magán)vagyont, akkor ez egy remek termék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Egészséges finanszírozási szerkezet fenntartását segítheti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Minimális időpont egyeztetés, bankfiókban való megjelenés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tárgyi eszköz- illetve forgóeszköz- beszerzési célú, tárgyi fedezet nélküli termék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Kevesebb adminisztráció, nem kell számlát behozni a lehíváshoz</a:t>
            </a:r>
          </a:p>
          <a:p>
            <a:pPr marL="342900" indent="-342900" algn="just">
              <a:lnSpc>
                <a:spcPct val="150000"/>
              </a:lnSpc>
              <a:spcBef>
                <a:spcPts val="300"/>
              </a:spcBef>
              <a:buFont typeface="Wingdings" panose="05000000000000000000" pitchFamily="2" charset="2"/>
              <a:buChar char="Ø"/>
            </a:pPr>
            <a:r>
              <a:rPr lang="hu-HU" sz="2000" dirty="0">
                <a:latin typeface="+mj-lt"/>
                <a:ea typeface="Segoe UI"/>
                <a:cs typeface="Segoe UI"/>
              </a:rPr>
              <a:t>Kiszámítható, fix kamat, fix </a:t>
            </a:r>
            <a:r>
              <a:rPr lang="hu-HU" sz="2000" dirty="0" smtClean="0">
                <a:latin typeface="+mj-lt"/>
                <a:ea typeface="Segoe UI"/>
                <a:cs typeface="Segoe UI"/>
              </a:rPr>
              <a:t>törlesztő részlet </a:t>
            </a:r>
            <a:r>
              <a:rPr lang="hu-HU" sz="2000" dirty="0">
                <a:latin typeface="+mj-lt"/>
                <a:ea typeface="Segoe UI"/>
                <a:cs typeface="Segoe UI"/>
              </a:rPr>
              <a:t>forint alapon</a:t>
            </a:r>
          </a:p>
        </p:txBody>
      </p:sp>
    </p:spTree>
    <p:extLst>
      <p:ext uri="{BB962C8B-B14F-4D97-AF65-F5344CB8AC3E}">
        <p14:creationId xmlns:p14="http://schemas.microsoft.com/office/powerpoint/2010/main" val="335136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451889" y="2808325"/>
            <a:ext cx="6332538" cy="679155"/>
          </a:xfrm>
        </p:spPr>
        <p:txBody>
          <a:bodyPr/>
          <a:lstStyle/>
          <a:p>
            <a:pPr defTabSz="989655" fontAlgn="auto">
              <a:spcAft>
                <a:spcPts val="0"/>
              </a:spcAft>
              <a:defRPr/>
            </a:pP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3.2 NHP Hajrá</a:t>
            </a:r>
            <a:r>
              <a:rPr lang="hu-HU" sz="4000" b="1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4000" b="1" kern="0" dirty="0" smtClean="0">
                <a:solidFill>
                  <a:srgbClr val="00703C"/>
                </a:solidFill>
                <a:sym typeface="Segoe UI"/>
              </a:rPr>
            </a:br>
            <a:endParaRPr lang="en-US" sz="2400" kern="0" dirty="0">
              <a:solidFill>
                <a:srgbClr val="00703C"/>
              </a:solidFill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70809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program részletei 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16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254772" y="2135280"/>
            <a:ext cx="9181964" cy="3202480"/>
          </a:xfrm>
        </p:spPr>
        <p:txBody>
          <a:bodyPr rtlCol="0"/>
          <a:lstStyle/>
          <a:p>
            <a:pPr algn="ctr" rtl="0">
              <a:lnSpc>
                <a:spcPct val="100000"/>
              </a:lnSpc>
            </a:pPr>
            <a:r>
              <a:rPr lang="hu-HU" b="1" dirty="0" smtClean="0">
                <a:solidFill>
                  <a:schemeClr val="tx2"/>
                </a:solidFill>
              </a:rPr>
              <a:t>Keretösszeg</a:t>
            </a:r>
          </a:p>
          <a:p>
            <a:pPr algn="ctr" rtl="0">
              <a:lnSpc>
                <a:spcPct val="100000"/>
              </a:lnSpc>
            </a:pPr>
            <a:endParaRPr lang="hu-HU" dirty="0"/>
          </a:p>
          <a:p>
            <a:pPr algn="ctr" rtl="0">
              <a:lnSpc>
                <a:spcPct val="100000"/>
              </a:lnSpc>
            </a:pPr>
            <a:r>
              <a:rPr lang="hu-HU" dirty="0" smtClean="0"/>
              <a:t>-   1500 milliárd HUF, melynek felhasználása 1200 </a:t>
            </a:r>
            <a:r>
              <a:rPr lang="hu-HU" dirty="0" err="1" smtClean="0"/>
              <a:t>millárd</a:t>
            </a:r>
            <a:r>
              <a:rPr lang="hu-HU" dirty="0" smtClean="0"/>
              <a:t> HUF-ig KKV Szerződések lejelentése alapján történik, ennek elérése esetén a fennmaradó 300 milliárd HUF allokálásra kerül a pénzintézetek között.</a:t>
            </a:r>
          </a:p>
          <a:p>
            <a:pPr marL="237858" indent="-237858" algn="ctr">
              <a:buFontTx/>
              <a:buChar char="-"/>
            </a:pPr>
            <a:endParaRPr lang="hu-HU" dirty="0" smtClean="0"/>
          </a:p>
          <a:p>
            <a:pPr marL="237858" indent="-237858" algn="ctr">
              <a:buFontTx/>
              <a:buChar char="-"/>
            </a:pPr>
            <a:endParaRPr lang="hu-HU" dirty="0"/>
          </a:p>
          <a:p>
            <a:pPr algn="ctr">
              <a:lnSpc>
                <a:spcPct val="100000"/>
              </a:lnSpc>
            </a:pPr>
            <a:r>
              <a:rPr lang="hu-HU" sz="1498" b="1" dirty="0">
                <a:solidFill>
                  <a:schemeClr val="tx2"/>
                </a:solidFill>
              </a:rPr>
              <a:t>Hitelcél</a:t>
            </a:r>
          </a:p>
          <a:p>
            <a:pPr algn="ctr">
              <a:lnSpc>
                <a:spcPct val="100000"/>
              </a:lnSpc>
            </a:pPr>
            <a:endParaRPr lang="hu-HU" sz="1498" b="1" dirty="0"/>
          </a:p>
          <a:p>
            <a:pPr marL="237858" indent="-237858" algn="ctr">
              <a:buFont typeface="Wingdings" panose="05000000000000000000" pitchFamily="2" charset="2"/>
              <a:buChar char="Ø"/>
            </a:pPr>
            <a:r>
              <a:rPr lang="hu-HU" sz="1498" dirty="0">
                <a:latin typeface="Arial" panose="020B0604020202020204" pitchFamily="34" charset="0"/>
                <a:cs typeface="Arial" panose="020B0604020202020204" pitchFamily="34" charset="0"/>
              </a:rPr>
              <a:t>új beruházási hitel </a:t>
            </a:r>
          </a:p>
          <a:p>
            <a:pPr lvl="3" algn="ctr"/>
            <a:endParaRPr lang="hu-HU" sz="133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7858" indent="-237858" algn="ctr">
              <a:buFont typeface="Wingdings" panose="05000000000000000000" pitchFamily="2" charset="2"/>
              <a:buChar char="Ø"/>
            </a:pPr>
            <a:r>
              <a:rPr lang="hu-HU" sz="1498" dirty="0">
                <a:latin typeface="Arial" panose="020B0604020202020204" pitchFamily="34" charset="0"/>
                <a:cs typeface="Arial" panose="020B0604020202020204" pitchFamily="34" charset="0"/>
              </a:rPr>
              <a:t>forgóeszközhitel</a:t>
            </a:r>
          </a:p>
          <a:p>
            <a:pPr lvl="3" algn="ctr"/>
            <a:endParaRPr lang="hu-HU" sz="133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7858" indent="-237858" algn="ctr">
              <a:buFont typeface="Wingdings" panose="05000000000000000000" pitchFamily="2" charset="2"/>
              <a:buChar char="Ø"/>
            </a:pPr>
            <a:r>
              <a:rPr lang="hu-HU" sz="1498" dirty="0">
                <a:latin typeface="Arial" panose="020B0604020202020204" pitchFamily="34" charset="0"/>
                <a:cs typeface="Arial" panose="020B0604020202020204" pitchFamily="34" charset="0"/>
              </a:rPr>
              <a:t>hitelkiváltás</a:t>
            </a:r>
          </a:p>
          <a:p>
            <a:pPr>
              <a:lnSpc>
                <a:spcPct val="100000"/>
              </a:lnSpc>
            </a:pPr>
            <a:endParaRPr lang="hu-HU" dirty="0" smtClean="0"/>
          </a:p>
          <a:p>
            <a:pPr marL="237858" indent="-237858">
              <a:buFontTx/>
              <a:buChar char="-"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4825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részletei I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17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664361"/>
            <a:ext cx="9181964" cy="3689856"/>
          </a:xfrm>
        </p:spPr>
        <p:txBody>
          <a:bodyPr rtlCol="0"/>
          <a:lstStyle/>
          <a:p>
            <a:endParaRPr lang="hu-HU" b="1" dirty="0" smtClean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hu-HU" b="1" dirty="0" smtClean="0">
                <a:solidFill>
                  <a:schemeClr val="tx2"/>
                </a:solidFill>
              </a:rPr>
              <a:t>Kik igényelhetik?</a:t>
            </a:r>
            <a:endParaRPr lang="hu-HU" b="1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endParaRPr lang="hu-HU" b="1" dirty="0"/>
          </a:p>
          <a:p>
            <a:pPr marL="237858" indent="-237858">
              <a:buFontTx/>
              <a:buChar char="-"/>
            </a:pPr>
            <a:r>
              <a:rPr lang="hu-HU" dirty="0"/>
              <a:t>2004. évi XXXIV. Törvény szerinti belföldi székhelyű mikro-, kis- és középvállalkozások </a:t>
            </a:r>
          </a:p>
          <a:p>
            <a:pPr marL="237858" indent="-237858">
              <a:buFontTx/>
              <a:buChar char="-"/>
            </a:pPr>
            <a:r>
              <a:rPr lang="hu-HU" dirty="0"/>
              <a:t>NHP vonatkozásában nem minősül KKV-nak az a vállalkozás, ahol  az állam vagy az önkormányzat közvetlen vagy közvetett tulajdoni részesedése </a:t>
            </a:r>
            <a:r>
              <a:rPr lang="hu-HU" dirty="0" err="1"/>
              <a:t>ülön</a:t>
            </a:r>
            <a:r>
              <a:rPr lang="hu-HU" dirty="0"/>
              <a:t>-külön vagy együttesen meghaladja a 25%-</a:t>
            </a:r>
            <a:r>
              <a:rPr lang="hu-HU" dirty="0" err="1"/>
              <a:t>ot</a:t>
            </a:r>
            <a:r>
              <a:rPr lang="hu-HU" dirty="0"/>
              <a:t>.</a:t>
            </a:r>
          </a:p>
          <a:p>
            <a:pPr marL="237858" indent="-237858">
              <a:buFontTx/>
              <a:buChar char="-"/>
            </a:pPr>
            <a:endParaRPr lang="hu-HU" dirty="0"/>
          </a:p>
          <a:p>
            <a:pPr marL="237858" indent="-237858">
              <a:buFontTx/>
              <a:buChar char="-"/>
            </a:pPr>
            <a:endParaRPr lang="hu-HU" dirty="0"/>
          </a:p>
          <a:p>
            <a:r>
              <a:rPr lang="hu-HU" b="1" dirty="0">
                <a:solidFill>
                  <a:schemeClr val="tx2"/>
                </a:solidFill>
              </a:rPr>
              <a:t>Hitelbírálati idő</a:t>
            </a:r>
          </a:p>
          <a:p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A hitelbírálat ideje nem haladhatja meg a </a:t>
            </a:r>
            <a:r>
              <a:rPr lang="hu-HU" b="1" dirty="0"/>
              <a:t>10 munkanapot</a:t>
            </a:r>
            <a:r>
              <a:rPr lang="hu-HU" dirty="0"/>
              <a:t>. Amennyiben meghaladja a két hetet a hitelintézet nem jogosult a program keretében refinanszírozás igénybevételére.</a:t>
            </a:r>
          </a:p>
          <a:p>
            <a:endParaRPr lang="hu-HU" b="1" dirty="0" smtClean="0">
              <a:solidFill>
                <a:schemeClr val="tx2"/>
              </a:solidFill>
            </a:endParaRPr>
          </a:p>
          <a:p>
            <a:endParaRPr lang="hu-HU" b="1" dirty="0">
              <a:solidFill>
                <a:schemeClr val="tx2"/>
              </a:solidFill>
            </a:endParaRPr>
          </a:p>
          <a:p>
            <a:r>
              <a:rPr lang="hu-HU" b="1" dirty="0" smtClean="0">
                <a:solidFill>
                  <a:schemeClr val="tx2"/>
                </a:solidFill>
              </a:rPr>
              <a:t>Hitel </a:t>
            </a:r>
            <a:r>
              <a:rPr lang="hu-HU" b="1" dirty="0" err="1" smtClean="0">
                <a:solidFill>
                  <a:schemeClr val="tx2"/>
                </a:solidFill>
              </a:rPr>
              <a:t>célonkénti</a:t>
            </a:r>
            <a:r>
              <a:rPr lang="hu-HU" b="1" dirty="0" smtClean="0">
                <a:solidFill>
                  <a:schemeClr val="tx2"/>
                </a:solidFill>
              </a:rPr>
              <a:t> kondíciók</a:t>
            </a:r>
            <a:endParaRPr lang="hu-HU" b="1" dirty="0">
              <a:solidFill>
                <a:schemeClr val="tx2"/>
              </a:solidFill>
            </a:endParaRPr>
          </a:p>
          <a:p>
            <a:endParaRPr lang="hu-HU" dirty="0"/>
          </a:p>
          <a:p>
            <a:endParaRPr lang="hu-HU" dirty="0"/>
          </a:p>
          <a:p>
            <a:pPr marL="237858" indent="-237858">
              <a:buFontTx/>
              <a:buChar char="-"/>
            </a:pPr>
            <a:endParaRPr lang="hu-HU" dirty="0"/>
          </a:p>
        </p:txBody>
      </p:sp>
      <p:graphicFrame>
        <p:nvGraphicFramePr>
          <p:cNvPr id="5" name="Táblázat 4"/>
          <p:cNvGraphicFramePr>
            <a:graphicFrameLocks noGrp="1"/>
          </p:cNvGraphicFramePr>
          <p:nvPr>
            <p:extLst/>
          </p:nvPr>
        </p:nvGraphicFramePr>
        <p:xfrm>
          <a:off x="2188112" y="4703283"/>
          <a:ext cx="5130949" cy="16809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79930">
                  <a:extLst>
                    <a:ext uri="{9D8B030D-6E8A-4147-A177-3AD203B41FA5}">
                      <a16:colId xmlns:a16="http://schemas.microsoft.com/office/drawing/2014/main" val="3030568349"/>
                    </a:ext>
                  </a:extLst>
                </a:gridCol>
                <a:gridCol w="1765993">
                  <a:extLst>
                    <a:ext uri="{9D8B030D-6E8A-4147-A177-3AD203B41FA5}">
                      <a16:colId xmlns:a16="http://schemas.microsoft.com/office/drawing/2014/main" val="604096821"/>
                    </a:ext>
                  </a:extLst>
                </a:gridCol>
                <a:gridCol w="1685026">
                  <a:extLst>
                    <a:ext uri="{9D8B030D-6E8A-4147-A177-3AD203B41FA5}">
                      <a16:colId xmlns:a16="http://schemas.microsoft.com/office/drawing/2014/main" val="144864029"/>
                    </a:ext>
                  </a:extLst>
                </a:gridCol>
              </a:tblGrid>
              <a:tr h="17835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</a:rPr>
                        <a:t>Termék megnevezés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</a:rPr>
                        <a:t>Forgóeszközhitel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</a:rPr>
                        <a:t>Beruházási hitel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3559962336"/>
                  </a:ext>
                </a:extLst>
              </a:tr>
              <a:tr h="3258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Minimum igényelhető összeg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</a:rPr>
                        <a:t> 5 millió</a:t>
                      </a:r>
                      <a:endParaRPr lang="hu-H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</a:rPr>
                        <a:t> 5 millió</a:t>
                      </a:r>
                      <a:endParaRPr lang="hu-H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2907122834"/>
                  </a:ext>
                </a:extLst>
              </a:tr>
              <a:tr h="3258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Maximum igényelhető összeg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50 millió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100 millió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3530226013"/>
                  </a:ext>
                </a:extLst>
              </a:tr>
              <a:tr h="1698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Devizanem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HUF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</a:rPr>
                        <a:t> HUF</a:t>
                      </a:r>
                      <a:endParaRPr lang="hu-H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595879342"/>
                  </a:ext>
                </a:extLst>
              </a:tr>
              <a:tr h="1698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Rendtart idő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nincs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max. 6 hónap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1284329549"/>
                  </a:ext>
                </a:extLst>
              </a:tr>
              <a:tr h="1698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Türelmi idő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nincs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max. 6 hónap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3103404769"/>
                  </a:ext>
                </a:extLst>
              </a:tr>
              <a:tr h="1698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</a:rPr>
                        <a:t>Futamidő</a:t>
                      </a:r>
                      <a:endParaRPr lang="hu-H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min. 1 év, max. 3 év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min. 1 év, max. 6 év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2364393628"/>
                  </a:ext>
                </a:extLst>
              </a:tr>
              <a:tr h="1698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Kamatfelár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</a:rPr>
                        <a:t> fix 2.5%</a:t>
                      </a:r>
                      <a:endParaRPr lang="hu-H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</a:rPr>
                        <a:t> fix 2.5%</a:t>
                      </a:r>
                      <a:endParaRPr lang="hu-H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9634" marR="39634" marT="0" marB="0" anchor="b"/>
                </a:tc>
                <a:extLst>
                  <a:ext uri="{0D108BD9-81ED-4DB2-BD59-A6C34878D82A}">
                    <a16:rowId xmlns:a16="http://schemas.microsoft.com/office/drawing/2014/main" val="22305354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4970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részletei II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18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574406"/>
            <a:ext cx="9181964" cy="4714817"/>
          </a:xfrm>
        </p:spPr>
        <p:txBody>
          <a:bodyPr rtlCol="0"/>
          <a:lstStyle/>
          <a:p>
            <a:r>
              <a:rPr lang="hu-HU" b="1" dirty="0" smtClean="0">
                <a:solidFill>
                  <a:schemeClr val="tx2"/>
                </a:solidFill>
              </a:rPr>
              <a:t>Díjak és költségek</a:t>
            </a:r>
            <a:endParaRPr lang="hu-HU" b="1" dirty="0">
              <a:solidFill>
                <a:schemeClr val="tx2"/>
              </a:solidFill>
            </a:endParaRPr>
          </a:p>
          <a:p>
            <a:endParaRPr lang="hu-HU" dirty="0"/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aximum 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2,5%-</a:t>
            </a:r>
            <a:r>
              <a:rPr lang="hu-H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 fix kamat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ellett vehető igénybe</a:t>
            </a:r>
          </a:p>
          <a:p>
            <a:endParaRPr lang="hu-HU" dirty="0" smtClean="0"/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2,5 % 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felett </a:t>
            </a: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felszámítható egyéb költségek: 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endParaRPr lang="hu-H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9578" lvl="3" indent="-237858">
              <a:buFont typeface="Wingdings" panose="05000000000000000000" pitchFamily="2" charset="2"/>
              <a:buChar char="§"/>
            </a:pPr>
            <a:r>
              <a:rPr lang="hu-HU" sz="1332" dirty="0">
                <a:latin typeface="Arial" panose="020B0604020202020204" pitchFamily="34" charset="0"/>
                <a:cs typeface="Arial" panose="020B0604020202020204" pitchFamily="34" charset="0"/>
              </a:rPr>
              <a:t>KKV Szerződés feltételeinek nem teljesítéséhez kapcsolódó büntető jellegű kamat, késedelmi kamat, valamint egyéb, kizárólag szerződésszegéshez kapcsolódó díj és költség.</a:t>
            </a:r>
          </a:p>
          <a:p>
            <a:pPr lvl="3"/>
            <a:endParaRPr lang="hu-HU" sz="1332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9578" lvl="3" indent="-237858">
              <a:buFont typeface="Wingdings" panose="05000000000000000000" pitchFamily="2" charset="2"/>
              <a:buChar char="§"/>
            </a:pPr>
            <a:r>
              <a:rPr lang="hu-HU" sz="1332" dirty="0">
                <a:latin typeface="Arial" panose="020B0604020202020204" pitchFamily="34" charset="0"/>
                <a:cs typeface="Arial" panose="020B0604020202020204" pitchFamily="34" charset="0"/>
              </a:rPr>
              <a:t>harmadik személynek fizetendő költségeket (így különösen: a közjegyzői díj, értékbecslés díja, garanciaintézményeknek fizetendő kezességvállalási díj, földhivatali díjak, fedezetmódosítási díj, biztosítási díj stb.)</a:t>
            </a:r>
          </a:p>
          <a:p>
            <a:pPr marL="237858" indent="-237858">
              <a:buFontTx/>
              <a:buChar char="-"/>
            </a:pP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KV kölcsön mögötti </a:t>
            </a:r>
            <a:r>
              <a:rPr lang="hu-HU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ékok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agánszemély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, (min. 50%) tulajdonos(ok) készfizető kezessége 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arantiqa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90%-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os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készfizető kezessége 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Garantiqa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készfizető kezességvállalása az ügyfelet terhelő tőketartozás módjára fizetendő kezelési költség 90%-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ra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terjed ki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felhatalmazó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levélen alapuló beszedési megbízás a hitelfelvevő más banknál vezetett számlájára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éves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számlaforgalom a </a:t>
            </a:r>
            <a:r>
              <a:rPr lang="hu-HU" dirty="0" err="1">
                <a:latin typeface="Arial" panose="020B0604020202020204" pitchFamily="34" charset="0"/>
                <a:cs typeface="Arial" panose="020B0604020202020204" pitchFamily="34" charset="0"/>
              </a:rPr>
              <a:t>hitelcélonkénti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kondíciós tábla </a:t>
            </a:r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alapján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r>
              <a:rPr lang="hu-HU" b="1" dirty="0" smtClean="0">
                <a:latin typeface="Arial" panose="020B0604020202020204" pitchFamily="34" charset="0"/>
                <a:cs typeface="Arial" panose="020B0604020202020204" pitchFamily="34" charset="0"/>
              </a:rPr>
              <a:t>Beruházási </a:t>
            </a: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hitel esetén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: beruházás tárgya</a:t>
            </a:r>
          </a:p>
          <a:p>
            <a:pPr marL="618432" lvl="1" indent="-237858">
              <a:buFont typeface="Arial" panose="020B0604020202020204" pitchFamily="34" charset="0"/>
              <a:buChar char="•"/>
            </a:pPr>
            <a:endParaRPr lang="hu-H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68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ím 1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NHP Hajrá részletei </a:t>
            </a:r>
            <a:r>
              <a:rPr lang="hu-HU" dirty="0" smtClean="0"/>
              <a:t>IV.</a:t>
            </a:r>
            <a:endParaRPr lang="hu-HU" dirty="0"/>
          </a:p>
        </p:txBody>
      </p:sp>
      <p:sp>
        <p:nvSpPr>
          <p:cNvPr id="21" name="Dia számának helye 20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19</a:t>
            </a:fld>
            <a:endParaRPr lang="de-DE" dirty="0"/>
          </a:p>
        </p:txBody>
      </p:sp>
      <p:sp>
        <p:nvSpPr>
          <p:cNvPr id="22" name="Téglalap 21"/>
          <p:cNvSpPr/>
          <p:nvPr/>
        </p:nvSpPr>
        <p:spPr>
          <a:xfrm>
            <a:off x="221431" y="1628134"/>
            <a:ext cx="9812129" cy="4602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332" b="1" dirty="0">
                <a:solidFill>
                  <a:schemeClr val="tx2"/>
                </a:solidFill>
              </a:rPr>
              <a:t>A készfizető kezesre vonatkozó feltételek:</a:t>
            </a:r>
          </a:p>
          <a:p>
            <a:endParaRPr lang="hu-HU" sz="1332" b="1" dirty="0">
              <a:solidFill>
                <a:schemeClr val="tx2"/>
              </a:solidFill>
            </a:endParaRPr>
          </a:p>
          <a:p>
            <a:r>
              <a:rPr lang="hu-HU" sz="1332" dirty="0"/>
              <a:t>Egyéni Vállalkozók, ill. Társas Vállalkozások esetén nagykorú - egyéni vállalkozótól különböző - magyar állampolgár vagy Magyarországon min. 3 éve állandó lakóhellyel rendelkező nagykorú Európai Unió tagállam állampolgár vagy kettős illetve több állampolgárságú magánszemély készfizető kezessége szükséges.</a:t>
            </a:r>
          </a:p>
          <a:p>
            <a:endParaRPr lang="hu-HU" sz="1332" b="1" dirty="0">
              <a:solidFill>
                <a:schemeClr val="tx2"/>
              </a:solidFill>
            </a:endParaRPr>
          </a:p>
          <a:p>
            <a:r>
              <a:rPr lang="hu-HU" sz="1332" b="1" dirty="0">
                <a:solidFill>
                  <a:schemeClr val="tx2"/>
                </a:solidFill>
              </a:rPr>
              <a:t>Kezességből kizáró okok:</a:t>
            </a:r>
          </a:p>
          <a:p>
            <a:endParaRPr lang="hu-HU" sz="1332" b="1" dirty="0">
              <a:solidFill>
                <a:schemeClr val="tx2"/>
              </a:solidFill>
            </a:endParaRPr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Bármilyen múltbéli </a:t>
            </a:r>
            <a:r>
              <a:rPr lang="hu-HU" sz="1332" b="1" dirty="0"/>
              <a:t>negatív</a:t>
            </a:r>
            <a:r>
              <a:rPr lang="hu-HU" sz="1332" dirty="0"/>
              <a:t> információ a </a:t>
            </a:r>
            <a:r>
              <a:rPr lang="hu-HU" sz="1332" dirty="0" err="1"/>
              <a:t>Garantiqa-nál</a:t>
            </a:r>
            <a:endParaRPr lang="hu-HU" sz="1332" dirty="0"/>
          </a:p>
          <a:p>
            <a:endParaRPr lang="hu-HU" sz="1332" dirty="0"/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Vállalkozás természetes személy készfizető kezese ezen konstrukcióban </a:t>
            </a:r>
            <a:r>
              <a:rPr lang="hu-HU" sz="1332" b="1" dirty="0"/>
              <a:t>egyidejűleg csak egy hitelhez </a:t>
            </a:r>
            <a:r>
              <a:rPr lang="hu-HU" sz="1332" dirty="0"/>
              <a:t>vállal készfizető kezességet</a:t>
            </a:r>
          </a:p>
          <a:p>
            <a:endParaRPr lang="hu-HU" sz="1332" b="1" dirty="0">
              <a:solidFill>
                <a:schemeClr val="tx2"/>
              </a:solidFill>
            </a:endParaRPr>
          </a:p>
          <a:p>
            <a:r>
              <a:rPr lang="hu-HU" sz="1332" b="1" dirty="0">
                <a:solidFill>
                  <a:schemeClr val="tx2"/>
                </a:solidFill>
              </a:rPr>
              <a:t>Egyéb szabályok</a:t>
            </a:r>
          </a:p>
          <a:p>
            <a:endParaRPr lang="hu-HU" sz="1332" dirty="0"/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Korábban saját forrásból megvásárolt és kifizetett eszközök utófinanszírozására a KKV részére legfeljebb 120 nappal saját forrásból kifizetett számlák refinanszírozására van lehetőség.</a:t>
            </a:r>
          </a:p>
          <a:p>
            <a:endParaRPr lang="hu-HU" sz="1332" dirty="0"/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A rendelkezésre tartási időszak alatt van lehetőség több részletben történő folyósításra.</a:t>
            </a:r>
          </a:p>
          <a:p>
            <a:endParaRPr lang="hu-HU" sz="1332" dirty="0"/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A program keretében nem </a:t>
            </a:r>
            <a:r>
              <a:rPr lang="hu-HU" sz="1332" dirty="0" err="1"/>
              <a:t>finanszírozhatóak</a:t>
            </a:r>
            <a:r>
              <a:rPr lang="hu-HU" sz="1332" dirty="0"/>
              <a:t> a hiteligénylő vállalkozás közvetlen vagy közvetett tulajdonosaitól, vezető tisztségviselőitől, vezető állású munkavállalójától, illetve e személyek közeli hozzátartozóitól megvalósítandó beruházások.</a:t>
            </a:r>
          </a:p>
        </p:txBody>
      </p:sp>
    </p:spTree>
    <p:extLst>
      <p:ext uri="{BB962C8B-B14F-4D97-AF65-F5344CB8AC3E}">
        <p14:creationId xmlns:p14="http://schemas.microsoft.com/office/powerpoint/2010/main" val="82312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AutoShape 59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266" name="AutoShape 59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423497" y="1653464"/>
            <a:ext cx="5561013" cy="2248684"/>
          </a:xfrm>
          <a:ln/>
        </p:spPr>
        <p:txBody>
          <a:bodyPr/>
          <a:lstStyle/>
          <a:p>
            <a:pPr defTabSz="989655" fontAlgn="auto">
              <a:spcAft>
                <a:spcPts val="0"/>
              </a:spcAft>
              <a:defRPr/>
            </a:pPr>
            <a:r>
              <a:rPr lang="hu-HU" sz="3600" b="1" u="sng" kern="0" dirty="0" smtClean="0">
                <a:solidFill>
                  <a:srgbClr val="00703C"/>
                </a:solidFill>
                <a:sym typeface="Segoe UI"/>
              </a:rPr>
              <a:t>Brókeri oktatási anyag</a:t>
            </a:r>
            <a:br>
              <a:rPr lang="hu-HU" sz="3600" b="1" u="sng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b="1" u="sng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b="1" u="sng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1</a:t>
            </a:r>
            <a:r>
              <a:rPr lang="hu-HU" sz="3600" kern="0" dirty="0">
                <a:solidFill>
                  <a:srgbClr val="00703C"/>
                </a:solidFill>
                <a:sym typeface="Segoe UI"/>
              </a:rPr>
              <a:t>. Személyi kölcsön</a:t>
            </a: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1200" dirty="0">
                <a:solidFill>
                  <a:schemeClr val="tx1"/>
                </a:solidFill>
              </a:rPr>
              <a:t>„A koronavírus világjárvány nemzetgazdaságot érintő hatásának enyhítése érdekében szükséges azonnali intézkedésekről szóló 47/2020. (III. 18.) Korm. rendelet hatálya alá tartozó időszak alatt (várhatóan 2020. december 31-ig)”</a:t>
            </a:r>
            <a:r>
              <a:rPr lang="hu-HU" dirty="0"/>
              <a:t/>
            </a:r>
            <a:br>
              <a:rPr lang="hu-HU" dirty="0"/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endParaRPr lang="en-GB" sz="3600" kern="0" dirty="0">
              <a:solidFill>
                <a:srgbClr val="00703C"/>
              </a:solidFill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9861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hitelcélok 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0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752413"/>
            <a:ext cx="9181964" cy="3074881"/>
          </a:xfrm>
        </p:spPr>
        <p:txBody>
          <a:bodyPr rtlCol="0"/>
          <a:lstStyle/>
          <a:p>
            <a:r>
              <a:rPr lang="hu-HU" b="1" dirty="0" smtClean="0">
                <a:solidFill>
                  <a:schemeClr val="tx2"/>
                </a:solidFill>
              </a:rPr>
              <a:t>Beruházási kölcsön</a:t>
            </a:r>
            <a:endParaRPr lang="hu-HU" b="1" dirty="0">
              <a:solidFill>
                <a:schemeClr val="tx2"/>
              </a:solidFill>
            </a:endParaRPr>
          </a:p>
          <a:p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 smtClean="0"/>
              <a:t>tárgyi </a:t>
            </a:r>
            <a:r>
              <a:rPr lang="hu-HU" dirty="0"/>
              <a:t>eszközök </a:t>
            </a:r>
            <a:r>
              <a:rPr lang="hu-HU" dirty="0" smtClean="0"/>
              <a:t>beszerzés, </a:t>
            </a:r>
            <a:r>
              <a:rPr lang="hu-HU" dirty="0"/>
              <a:t>a már meglévő vagy bérelt, illetve lízingelt (amennyiben a beruházás aktiválásra kerül) eszközök </a:t>
            </a:r>
            <a:r>
              <a:rPr lang="hu-HU" dirty="0" smtClean="0"/>
              <a:t>átalakítása</a:t>
            </a:r>
            <a:r>
              <a:rPr lang="hu-HU" dirty="0"/>
              <a:t>, </a:t>
            </a:r>
            <a:r>
              <a:rPr lang="hu-HU" dirty="0" smtClean="0"/>
              <a:t>korszerűsítése </a:t>
            </a:r>
            <a:r>
              <a:rPr lang="hu-HU" dirty="0"/>
              <a:t>és kapacitásuk </a:t>
            </a:r>
            <a:r>
              <a:rPr lang="hu-HU" dirty="0" smtClean="0"/>
              <a:t>bővítése.</a:t>
            </a:r>
          </a:p>
          <a:p>
            <a:endParaRPr lang="hu-HU" dirty="0" smtClean="0"/>
          </a:p>
          <a:p>
            <a:pPr marL="237858" indent="-237858">
              <a:buFontTx/>
              <a:buChar char="-"/>
            </a:pPr>
            <a:r>
              <a:rPr lang="hu-HU" dirty="0" smtClean="0"/>
              <a:t>Az </a:t>
            </a:r>
            <a:r>
              <a:rPr lang="hu-HU" dirty="0"/>
              <a:t>ingatlan-nyilvántartásban az épület fő rendeltetési jellege szerint üdülőként nyilvántartott ingatlan tulajdonjogának megszerzésére, építésére, bővítésére, felújítására vagy átalakítására a program keretén belül abban az esetben folyósítható beruházási hitel, ha a KKV a szálláshely-szolgáltatási tevékenység folytatásának részletes </a:t>
            </a:r>
            <a:r>
              <a:rPr lang="hu-HU" dirty="0" smtClean="0"/>
              <a:t>feltételeinek megfelel, </a:t>
            </a:r>
            <a:r>
              <a:rPr lang="hu-HU" dirty="0"/>
              <a:t>a szálláshely-üzemeltetési </a:t>
            </a:r>
            <a:r>
              <a:rPr lang="hu-HU" dirty="0" smtClean="0"/>
              <a:t>engedéllyel rendelkezik és szálloda</a:t>
            </a:r>
            <a:r>
              <a:rPr lang="hu-HU" dirty="0"/>
              <a:t>, panzió, kemping, üdülőház illetve közösségi szálláshely üzemeltetését végzi vagy fogja végezni ebben az </a:t>
            </a:r>
            <a:r>
              <a:rPr lang="hu-HU" dirty="0" smtClean="0"/>
              <a:t>épületben.</a:t>
            </a:r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pPr marL="237858" indent="-237858">
              <a:buFontTx/>
              <a:buChar char="-"/>
            </a:pPr>
            <a:r>
              <a:rPr lang="hu-HU" dirty="0"/>
              <a:t>Beépítetlen telek </a:t>
            </a:r>
            <a:r>
              <a:rPr lang="hu-HU" dirty="0" smtClean="0"/>
              <a:t>kizárólag </a:t>
            </a:r>
            <a:r>
              <a:rPr lang="hu-HU" dirty="0"/>
              <a:t>a saját üzleti tevékenység végzéséhez szükséges felépítmény (építésiengedély-köteles épület) létrehozása céljából </a:t>
            </a:r>
            <a:r>
              <a:rPr lang="hu-HU" dirty="0" smtClean="0"/>
              <a:t>finanszírozható.</a:t>
            </a:r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endParaRPr lang="hu-HU" dirty="0"/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2795" y="4495311"/>
            <a:ext cx="2180425" cy="1450974"/>
          </a:xfrm>
          <a:prstGeom prst="rect">
            <a:avLst/>
          </a:prstGeom>
        </p:spPr>
      </p:pic>
      <p:sp>
        <p:nvSpPr>
          <p:cNvPr id="13" name="Téglalap 12"/>
          <p:cNvSpPr/>
          <p:nvPr/>
        </p:nvSpPr>
        <p:spPr>
          <a:xfrm>
            <a:off x="4242859" y="4894302"/>
            <a:ext cx="5074444" cy="630173"/>
          </a:xfrm>
          <a:prstGeom prst="rect">
            <a:avLst/>
          </a:prstGeom>
        </p:spPr>
        <p:txBody>
          <a:bodyPr>
            <a:spAutoFit/>
          </a:bodyPr>
          <a:lstStyle/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ingatlan vásárlás</a:t>
            </a:r>
          </a:p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tárgyi eszköz vásárlás</a:t>
            </a:r>
          </a:p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tárgyi eszköz korszerűsítés, átalakítás</a:t>
            </a:r>
          </a:p>
        </p:txBody>
      </p:sp>
    </p:spTree>
    <p:extLst>
      <p:ext uri="{BB962C8B-B14F-4D97-AF65-F5344CB8AC3E}">
        <p14:creationId xmlns:p14="http://schemas.microsoft.com/office/powerpoint/2010/main" val="147141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ia számának helye 20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1</a:t>
            </a:fld>
            <a:endParaRPr lang="de-DE" dirty="0"/>
          </a:p>
        </p:txBody>
      </p:sp>
      <p:sp>
        <p:nvSpPr>
          <p:cNvPr id="23" name="Téglalap 22"/>
          <p:cNvSpPr/>
          <p:nvPr/>
        </p:nvSpPr>
        <p:spPr>
          <a:xfrm>
            <a:off x="85344" y="2078642"/>
            <a:ext cx="10125822" cy="2142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Személygépkocsi  beszerzése kizárólag abban az esetben finanszírozható, ha a KKV főtevékenysége 2020. január 1-től folyamatosan személyszállítás.</a:t>
            </a:r>
          </a:p>
          <a:p>
            <a:endParaRPr lang="hu-HU" sz="1332" dirty="0"/>
          </a:p>
          <a:p>
            <a:pPr marL="237858" indent="-237858">
              <a:buFont typeface="Arial" panose="020B0604020202020204" pitchFamily="34" charset="0"/>
              <a:buChar char="•"/>
            </a:pPr>
            <a:r>
              <a:rPr lang="hu-HU" sz="1332" dirty="0"/>
              <a:t>Lakóingatlanként nyilvántartott ingatlan tulajdonjogának megszerzésére, építésére, bővítésére, felújítására vagy átalakítására a program keretén belül az alábbi két esetben folyósítható beruházási hitel:</a:t>
            </a:r>
          </a:p>
          <a:p>
            <a:pPr marL="237858" indent="-237858">
              <a:buFont typeface="Arial" panose="020B0604020202020204" pitchFamily="34" charset="0"/>
              <a:buChar char="•"/>
            </a:pPr>
            <a:endParaRPr lang="hu-HU" sz="1332" dirty="0"/>
          </a:p>
          <a:p>
            <a:r>
              <a:rPr lang="hu-HU" sz="1332" dirty="0"/>
              <a:t>	</a:t>
            </a:r>
            <a:r>
              <a:rPr lang="hu-HU" sz="1332" dirty="0" smtClean="0"/>
              <a:t>Legalább </a:t>
            </a:r>
            <a:r>
              <a:rPr lang="hu-HU" sz="1332" dirty="0"/>
              <a:t>10 lakásból álló lakóingatlan építésére vagy ilyen újépítésű ingatlan megvásárlására, amennyiben a </a:t>
            </a:r>
            <a:r>
              <a:rPr lang="hu-HU" sz="1332" dirty="0" smtClean="0"/>
              <a:t>	hitelfelvevő </a:t>
            </a:r>
            <a:r>
              <a:rPr lang="hu-HU" sz="1332" dirty="0"/>
              <a:t>KKV kizárólag 	magánszemélyek saját részére történő, hosszú távú bérbeadás formájában </a:t>
            </a:r>
            <a:r>
              <a:rPr lang="hu-HU" sz="1332" dirty="0" smtClean="0"/>
              <a:t>	hasznosítja </a:t>
            </a:r>
            <a:r>
              <a:rPr lang="hu-HU" sz="1332" dirty="0"/>
              <a:t>üzletszerűen valamint a hitelfelvevő vállalkozás 	tevékenységi körei között szerepel a saját tulajdonú </a:t>
            </a:r>
            <a:r>
              <a:rPr lang="hu-HU" sz="1332" dirty="0" smtClean="0"/>
              <a:t>	vagy </a:t>
            </a:r>
            <a:r>
              <a:rPr lang="hu-HU" sz="1332" dirty="0"/>
              <a:t>bérelt ingatlan bérbeadására, üzemeltetésére vonatkozó tevékenység.</a:t>
            </a:r>
          </a:p>
        </p:txBody>
      </p:sp>
      <p:pic>
        <p:nvPicPr>
          <p:cNvPr id="24" name="Kép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3652" y="4676101"/>
            <a:ext cx="3364648" cy="1390518"/>
          </a:xfrm>
          <a:prstGeom prst="rect">
            <a:avLst/>
          </a:prstGeom>
        </p:spPr>
      </p:pic>
      <p:sp>
        <p:nvSpPr>
          <p:cNvPr id="25" name="Cím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NHP Hajrá hitelcélok </a:t>
            </a:r>
            <a:r>
              <a:rPr lang="hu-HU" dirty="0" smtClean="0"/>
              <a:t>II.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62308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hitelcélok I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2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817698"/>
            <a:ext cx="9181964" cy="1844929"/>
          </a:xfrm>
        </p:spPr>
        <p:txBody>
          <a:bodyPr rtlCol="0"/>
          <a:lstStyle/>
          <a:p>
            <a:r>
              <a:rPr lang="hu-HU" b="1" dirty="0" smtClean="0">
                <a:solidFill>
                  <a:schemeClr val="tx2"/>
                </a:solidFill>
              </a:rPr>
              <a:t>Forgóeszköz-finanszírozás</a:t>
            </a:r>
          </a:p>
          <a:p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A forgóeszközhitelt a KKV korlátozás nélkül </a:t>
            </a:r>
            <a:r>
              <a:rPr lang="hu-HU" dirty="0" smtClean="0"/>
              <a:t>használhatja </a:t>
            </a:r>
            <a:r>
              <a:rPr lang="hu-HU" dirty="0"/>
              <a:t>működéséhez kapcsolódó kiadásainak fedezésére, ideértve akár más forgóeszközhitel kiváltását is</a:t>
            </a:r>
            <a:r>
              <a:rPr lang="hu-HU" dirty="0" smtClean="0"/>
              <a:t>.</a:t>
            </a:r>
          </a:p>
          <a:p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 smtClean="0"/>
              <a:t>A </a:t>
            </a:r>
            <a:r>
              <a:rPr lang="hu-HU" dirty="0"/>
              <a:t>vállalkozás likviditási céljaira nyújtott forgóeszközhitel, vagy több ilyen hitel esetén azok együttes összege nem haladhatja meg a KKV beszámolójában/adóbevallásában </a:t>
            </a:r>
            <a:r>
              <a:rPr lang="hu-HU" dirty="0" smtClean="0"/>
              <a:t>szereplő készletállomány</a:t>
            </a:r>
            <a:r>
              <a:rPr lang="hu-HU" dirty="0"/>
              <a:t>, </a:t>
            </a:r>
            <a:r>
              <a:rPr lang="hu-HU" dirty="0" smtClean="0"/>
              <a:t>a nem </a:t>
            </a:r>
            <a:r>
              <a:rPr lang="hu-HU" dirty="0"/>
              <a:t>lejárt vevőkövetelések, </a:t>
            </a:r>
            <a:r>
              <a:rPr lang="hu-HU" dirty="0" smtClean="0"/>
              <a:t>a személyi </a:t>
            </a:r>
            <a:r>
              <a:rPr lang="hu-HU" dirty="0"/>
              <a:t>jellegű ráfordítások, valamint az előfinanszírozni kívánt – már elnyert – EU-s támogatás együttes összegét </a:t>
            </a:r>
          </a:p>
          <a:p>
            <a:pPr marL="237858" indent="-237858">
              <a:buFontTx/>
              <a:buChar char="-"/>
            </a:pPr>
            <a:endParaRPr lang="hu-HU" dirty="0"/>
          </a:p>
        </p:txBody>
      </p:sp>
      <p:sp>
        <p:nvSpPr>
          <p:cNvPr id="6" name="Téglalap 5"/>
          <p:cNvSpPr/>
          <p:nvPr/>
        </p:nvSpPr>
        <p:spPr>
          <a:xfrm>
            <a:off x="3627885" y="3617604"/>
            <a:ext cx="6158530" cy="6301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készletállomány</a:t>
            </a:r>
          </a:p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vevőállomány (</a:t>
            </a:r>
            <a:r>
              <a:rPr lang="hu-HU" sz="1165" b="1" dirty="0" err="1">
                <a:solidFill>
                  <a:schemeClr val="accent1"/>
                </a:solidFill>
              </a:rPr>
              <a:t>max</a:t>
            </a:r>
            <a:r>
              <a:rPr lang="hu-HU" sz="1165" b="1" dirty="0">
                <a:solidFill>
                  <a:schemeClr val="accent1"/>
                </a:solidFill>
              </a:rPr>
              <a:t>. 30 napnál nem régebbi lejárt állomány)</a:t>
            </a:r>
          </a:p>
          <a:p>
            <a:pPr marL="1379578" lvl="3" indent="-237858">
              <a:buFont typeface="Wingdings" panose="05000000000000000000" pitchFamily="2" charset="2"/>
              <a:buChar char="ü"/>
            </a:pPr>
            <a:r>
              <a:rPr lang="hu-HU" sz="1165" b="1" dirty="0">
                <a:solidFill>
                  <a:schemeClr val="accent1"/>
                </a:solidFill>
              </a:rPr>
              <a:t>személyi jellegű ráfordítások (</a:t>
            </a:r>
            <a:r>
              <a:rPr lang="hu-HU" sz="1165" b="1" dirty="0" err="1">
                <a:solidFill>
                  <a:schemeClr val="accent1"/>
                </a:solidFill>
              </a:rPr>
              <a:t>évesítve</a:t>
            </a:r>
            <a:r>
              <a:rPr lang="hu-HU" sz="1165" b="1" dirty="0">
                <a:solidFill>
                  <a:schemeClr val="accent1"/>
                </a:solidFill>
              </a:rPr>
              <a:t>)</a:t>
            </a: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4891" y="4537015"/>
            <a:ext cx="3444519" cy="1397865"/>
          </a:xfrm>
          <a:prstGeom prst="rect">
            <a:avLst/>
          </a:prstGeom>
        </p:spPr>
      </p:pic>
      <p:pic>
        <p:nvPicPr>
          <p:cNvPr id="9" name="Kép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913" y="4349794"/>
            <a:ext cx="2477250" cy="191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7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NHP Hajrá hitelcélok III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3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767863"/>
            <a:ext cx="9181964" cy="3484865"/>
          </a:xfrm>
        </p:spPr>
        <p:txBody>
          <a:bodyPr rtlCol="0"/>
          <a:lstStyle/>
          <a:p>
            <a:r>
              <a:rPr lang="hu-HU" b="1" dirty="0" smtClean="0">
                <a:solidFill>
                  <a:schemeClr val="tx2"/>
                </a:solidFill>
              </a:rPr>
              <a:t>Hitelkiváltás</a:t>
            </a:r>
          </a:p>
          <a:p>
            <a:endParaRPr lang="hu-HU" dirty="0" smtClean="0"/>
          </a:p>
          <a:p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KKV által belföldi hitelintézettől vagy pénzügyi vállalkozástól felvett forint vagy deviza alapú beruházási kölcsön vagy pénzügyi lízing kiváltható, ebben az esetben a hitel folyósítása kizárólag egy részletben történik</a:t>
            </a:r>
            <a:r>
              <a:rPr lang="hu-HU" dirty="0" smtClean="0"/>
              <a:t>.</a:t>
            </a:r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pPr marL="237858" indent="-237858">
              <a:buFontTx/>
              <a:buChar char="-"/>
            </a:pPr>
            <a:r>
              <a:rPr lang="hu-HU" b="1" dirty="0" smtClean="0">
                <a:solidFill>
                  <a:schemeClr val="tx2"/>
                </a:solidFill>
              </a:rPr>
              <a:t>1 </a:t>
            </a:r>
            <a:r>
              <a:rPr lang="hu-HU" b="1" dirty="0">
                <a:solidFill>
                  <a:schemeClr val="tx2"/>
                </a:solidFill>
              </a:rPr>
              <a:t>millió </a:t>
            </a:r>
            <a:r>
              <a:rPr lang="hu-HU" dirty="0"/>
              <a:t>forint </a:t>
            </a:r>
            <a:r>
              <a:rPr lang="hu-HU" dirty="0" smtClean="0"/>
              <a:t>feletti tartozás váltható csak ki.</a:t>
            </a:r>
          </a:p>
          <a:p>
            <a:pPr marL="237858" indent="-237858">
              <a:buFontTx/>
              <a:buChar char="-"/>
            </a:pPr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Kölcsön összege nem haladhatja meg az eredeti KKV kölcsön kiváltás napján fennálló tőketartozásának </a:t>
            </a:r>
            <a:r>
              <a:rPr lang="hu-HU" dirty="0" smtClean="0"/>
              <a:t>összegét.</a:t>
            </a:r>
          </a:p>
          <a:p>
            <a:pPr marL="237858" indent="-237858">
              <a:buFontTx/>
              <a:buChar char="-"/>
            </a:pPr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Kölcsön </a:t>
            </a:r>
            <a:r>
              <a:rPr lang="hu-HU" dirty="0" err="1" smtClean="0"/>
              <a:t>kamatterhe</a:t>
            </a:r>
            <a:r>
              <a:rPr lang="hu-HU" dirty="0" smtClean="0"/>
              <a:t> </a:t>
            </a:r>
            <a:r>
              <a:rPr lang="hu-HU" dirty="0"/>
              <a:t>eltérhet a kiváltásra kerülő KKV Szerződésben meghatározottól, de az nem lehet magasabb évi 2,5 </a:t>
            </a:r>
            <a:r>
              <a:rPr lang="hu-HU" dirty="0" smtClean="0"/>
              <a:t>százaléknál.</a:t>
            </a:r>
          </a:p>
          <a:p>
            <a:pPr marL="237858" indent="-237858">
              <a:buFontTx/>
              <a:buChar char="-"/>
            </a:pPr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>
                <a:solidFill>
                  <a:srgbClr val="FF0000"/>
                </a:solidFill>
              </a:rPr>
              <a:t>Késedelmes</a:t>
            </a:r>
            <a:r>
              <a:rPr lang="hu-HU" dirty="0"/>
              <a:t> KKV kölcsön </a:t>
            </a:r>
            <a:r>
              <a:rPr lang="hu-HU" dirty="0">
                <a:solidFill>
                  <a:srgbClr val="FF0000"/>
                </a:solidFill>
              </a:rPr>
              <a:t>nem</a:t>
            </a:r>
            <a:r>
              <a:rPr lang="hu-HU" dirty="0"/>
              <a:t> váltható ki</a:t>
            </a:r>
            <a:r>
              <a:rPr lang="hu-HU" dirty="0" smtClean="0"/>
              <a:t>.</a:t>
            </a:r>
          </a:p>
          <a:p>
            <a:pPr marL="237858" indent="-237858">
              <a:buFontTx/>
              <a:buChar char="-"/>
            </a:pPr>
            <a:endParaRPr lang="hu-HU" dirty="0"/>
          </a:p>
          <a:p>
            <a:pPr marL="237858" indent="-237858">
              <a:buFontTx/>
              <a:buChar char="-"/>
            </a:pPr>
            <a:r>
              <a:rPr lang="hu-HU" dirty="0"/>
              <a:t>Kölcsön mögötti biztosítékok köre eltérhet a kiváltásra kerülő KKV kölcsön mögötti biztosítékok körétől</a:t>
            </a:r>
            <a:r>
              <a:rPr lang="hu-HU" dirty="0" smtClean="0"/>
              <a:t>.</a:t>
            </a:r>
          </a:p>
          <a:p>
            <a:pPr marL="237858" indent="-237858">
              <a:buFontTx/>
              <a:buChar char="-"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94248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GHG Krízis Garanciaprogram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4</a:t>
            </a:fld>
            <a:endParaRPr lang="de-DE" dirty="0"/>
          </a:p>
        </p:txBody>
      </p:sp>
      <p:sp>
        <p:nvSpPr>
          <p:cNvPr id="40" name="Text Placeholder 35"/>
          <p:cNvSpPr>
            <a:spLocks noGrp="1"/>
          </p:cNvSpPr>
          <p:nvPr>
            <p:ph type="body" sz="quarter" idx="40"/>
          </p:nvPr>
        </p:nvSpPr>
        <p:spPr>
          <a:xfrm>
            <a:off x="496961" y="1767863"/>
            <a:ext cx="9181964" cy="4407553"/>
          </a:xfrm>
        </p:spPr>
        <p:txBody>
          <a:bodyPr rtlCol="0"/>
          <a:lstStyle/>
          <a:p>
            <a:r>
              <a:rPr lang="hu-HU" b="1" dirty="0" err="1" smtClean="0">
                <a:solidFill>
                  <a:schemeClr val="tx2"/>
                </a:solidFill>
              </a:rPr>
              <a:t>Garantiqa</a:t>
            </a:r>
            <a:r>
              <a:rPr lang="hu-HU" b="1" dirty="0" smtClean="0">
                <a:solidFill>
                  <a:schemeClr val="tx2"/>
                </a:solidFill>
              </a:rPr>
              <a:t> Hitelgarancia </a:t>
            </a:r>
            <a:r>
              <a:rPr lang="hu-HU" b="1" dirty="0" err="1" smtClean="0">
                <a:solidFill>
                  <a:schemeClr val="tx2"/>
                </a:solidFill>
              </a:rPr>
              <a:t>Zrt</a:t>
            </a:r>
            <a:r>
              <a:rPr lang="hu-HU" b="1" dirty="0" smtClean="0">
                <a:solidFill>
                  <a:schemeClr val="tx2"/>
                </a:solidFill>
              </a:rPr>
              <a:t>.</a:t>
            </a:r>
          </a:p>
          <a:p>
            <a:endParaRPr lang="hu-HU" dirty="0" smtClean="0"/>
          </a:p>
          <a:p>
            <a:pPr marL="237858" indent="-237858">
              <a:buFontTx/>
              <a:buChar char="-"/>
            </a:pPr>
            <a:r>
              <a:rPr lang="hu-HU" dirty="0" smtClean="0"/>
              <a:t>1992-ben a magyar állam, a legjelentősebb hazai kereskedelmi bankok, takarékszövetkezetek, és néhány vállalkozói érdekképviseleti szövetség alapította </a:t>
            </a:r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pPr marL="237858" indent="-237858">
              <a:buFontTx/>
              <a:buChar char="-"/>
            </a:pPr>
            <a:r>
              <a:rPr lang="hu-HU" dirty="0" smtClean="0"/>
              <a:t>Célja: készfizető kezesség vállalásával katalizátorként működjön közre a hazai kis- és középvállalkozások hitelezésében </a:t>
            </a:r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pPr marL="237858" indent="-237858">
              <a:buFontTx/>
              <a:buChar char="-"/>
            </a:pPr>
            <a:endParaRPr lang="hu-HU" dirty="0" smtClean="0"/>
          </a:p>
          <a:p>
            <a:r>
              <a:rPr lang="hu-HU" b="1" dirty="0" err="1">
                <a:solidFill>
                  <a:schemeClr val="tx2"/>
                </a:solidFill>
              </a:rPr>
              <a:t>Garantiqa</a:t>
            </a:r>
            <a:r>
              <a:rPr lang="hu-HU" b="1" dirty="0">
                <a:solidFill>
                  <a:schemeClr val="tx2"/>
                </a:solidFill>
              </a:rPr>
              <a:t> Krízis Garanciaprogram</a:t>
            </a:r>
          </a:p>
          <a:p>
            <a:endParaRPr lang="hu-HU" dirty="0"/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/>
              <a:t>program </a:t>
            </a:r>
            <a:r>
              <a:rPr lang="hu-HU" dirty="0" smtClean="0"/>
              <a:t>garanciakerete:		500 milliárd HUF keretösszeg</a:t>
            </a:r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 err="1" smtClean="0"/>
              <a:t>viszontgarancia</a:t>
            </a:r>
            <a:r>
              <a:rPr lang="hu-HU" dirty="0" smtClean="0"/>
              <a:t> forrása:		magyar állam</a:t>
            </a:r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 err="1" smtClean="0"/>
              <a:t>viszontgarancia</a:t>
            </a:r>
            <a:r>
              <a:rPr lang="hu-HU" dirty="0" smtClean="0"/>
              <a:t> mértéke:		90%</a:t>
            </a:r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 smtClean="0"/>
              <a:t>kezességvállalás </a:t>
            </a:r>
            <a:r>
              <a:rPr lang="hu-HU" dirty="0" err="1" smtClean="0"/>
              <a:t>max</a:t>
            </a:r>
            <a:r>
              <a:rPr lang="hu-HU" dirty="0" smtClean="0"/>
              <a:t>. mértéke:		tőketartozásra </a:t>
            </a:r>
            <a:r>
              <a:rPr lang="hu-HU" dirty="0"/>
              <a:t>vállalható kezesség, a hitelösszeg 90%-</a:t>
            </a:r>
            <a:r>
              <a:rPr lang="hu-HU" dirty="0" err="1" smtClean="0"/>
              <a:t>áig</a:t>
            </a:r>
            <a:endParaRPr lang="hu-HU" dirty="0" smtClean="0"/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 smtClean="0"/>
              <a:t>maximális hitelösszeg:			</a:t>
            </a:r>
            <a:r>
              <a:rPr lang="hu-HU" b="1" dirty="0" smtClean="0">
                <a:solidFill>
                  <a:srgbClr val="FF0000"/>
                </a:solidFill>
              </a:rPr>
              <a:t>2019 </a:t>
            </a:r>
            <a:r>
              <a:rPr lang="hu-HU" b="1" dirty="0">
                <a:solidFill>
                  <a:srgbClr val="FF0000"/>
                </a:solidFill>
              </a:rPr>
              <a:t>éves árbevétel 25</a:t>
            </a:r>
            <a:r>
              <a:rPr lang="hu-HU" b="1" dirty="0" smtClean="0">
                <a:solidFill>
                  <a:srgbClr val="FF0000"/>
                </a:solidFill>
              </a:rPr>
              <a:t>%-a</a:t>
            </a:r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/>
              <a:t>szerződés megkötésének </a:t>
            </a:r>
            <a:r>
              <a:rPr lang="hu-HU" dirty="0" smtClean="0"/>
              <a:t>határideje:	2020</a:t>
            </a:r>
            <a:r>
              <a:rPr lang="hu-HU" dirty="0"/>
              <a:t>. december 31</a:t>
            </a:r>
            <a:r>
              <a:rPr lang="hu-HU" dirty="0" smtClean="0"/>
              <a:t>.</a:t>
            </a:r>
          </a:p>
          <a:p>
            <a:pPr marL="237858" indent="-237858">
              <a:lnSpc>
                <a:spcPct val="150000"/>
              </a:lnSpc>
              <a:buFontTx/>
              <a:buChar char="-"/>
            </a:pPr>
            <a:r>
              <a:rPr lang="hu-HU" dirty="0" smtClean="0"/>
              <a:t>futamidő: 				</a:t>
            </a:r>
            <a:r>
              <a:rPr lang="hu-HU" dirty="0" err="1" smtClean="0"/>
              <a:t>max</a:t>
            </a:r>
            <a:r>
              <a:rPr lang="hu-HU" dirty="0" smtClean="0"/>
              <a:t>. 6 év</a:t>
            </a:r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6585" y="1546521"/>
            <a:ext cx="1164598" cy="44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36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Alapdokumentumok listája</a:t>
            </a:r>
            <a:endParaRPr lang="hu-HU" dirty="0"/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5</a:t>
            </a:fld>
            <a:endParaRPr lang="de-DE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838" y="1577848"/>
            <a:ext cx="7847080" cy="4698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1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ezes ingó és ingatlanfedezet kapcsán bevonandó dokumentumok</a:t>
            </a: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72AA81F-3BE1-42F8-A306-480965D678F0}" type="slidenum">
              <a:rPr lang="de-DE" smtClean="0"/>
              <a:t>26</a:t>
            </a:fld>
            <a:endParaRPr lang="de-DE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3532" y="1489261"/>
            <a:ext cx="6311856" cy="4729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909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" b="100"/>
          <a:stretch>
            <a:fillRect/>
          </a:stretch>
        </p:blipFill>
        <p:spPr/>
      </p:pic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88945" y="4114246"/>
            <a:ext cx="4919345" cy="1109151"/>
          </a:xfrm>
        </p:spPr>
        <p:txBody>
          <a:bodyPr rtlCol="0"/>
          <a:lstStyle/>
          <a:p>
            <a:r>
              <a:rPr lang="hu-HU" dirty="0" smtClean="0"/>
              <a:t>3.3 Széchenyi </a:t>
            </a:r>
            <a:r>
              <a:rPr lang="hu-HU" dirty="0" smtClean="0"/>
              <a:t>Plusz </a:t>
            </a:r>
            <a:r>
              <a:rPr lang="hu-HU" dirty="0"/>
              <a:t>hitelkonstrukció</a:t>
            </a:r>
            <a:endParaRPr lang="en-US" b="1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idx="12"/>
          </p:nvPr>
        </p:nvSpPr>
        <p:spPr>
          <a:xfrm>
            <a:off x="488944" y="5248445"/>
            <a:ext cx="6294160" cy="369075"/>
          </a:xfrm>
        </p:spPr>
        <p:txBody>
          <a:bodyPr rtlCol="0"/>
          <a:lstStyle/>
          <a:p>
            <a:endParaRPr lang="hu-HU" dirty="0"/>
          </a:p>
        </p:txBody>
      </p:sp>
      <p:sp>
        <p:nvSpPr>
          <p:cNvPr id="8" name="TextBox 7"/>
          <p:cNvSpPr txBox="1"/>
          <p:nvPr/>
        </p:nvSpPr>
        <p:spPr>
          <a:xfrm>
            <a:off x="10832529" y="3619814"/>
            <a:ext cx="184731" cy="3228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en-US" sz="1498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15" name="Bild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805" y="1306361"/>
            <a:ext cx="2790415" cy="52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001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KP Plusz termékei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28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graphicFrame>
        <p:nvGraphicFramePr>
          <p:cNvPr id="40" name="Tartalom helye 3"/>
          <p:cNvGraphicFramePr>
            <a:graphicFrameLocks/>
          </p:cNvGraphicFramePr>
          <p:nvPr>
            <p:extLst/>
          </p:nvPr>
        </p:nvGraphicFramePr>
        <p:xfrm>
          <a:off x="-315373" y="1715090"/>
          <a:ext cx="7896863" cy="4091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1" name="Csoportba foglalás 40"/>
          <p:cNvGrpSpPr/>
          <p:nvPr/>
        </p:nvGrpSpPr>
        <p:grpSpPr>
          <a:xfrm>
            <a:off x="5736655" y="2963002"/>
            <a:ext cx="1595689" cy="1595689"/>
            <a:chOff x="4817033" y="466943"/>
            <a:chExt cx="1916924" cy="1916924"/>
          </a:xfrm>
          <a:solidFill>
            <a:schemeClr val="tx2"/>
          </a:solidFill>
        </p:grpSpPr>
        <p:sp>
          <p:nvSpPr>
            <p:cNvPr id="42" name="Lekerekített téglalap 41"/>
            <p:cNvSpPr/>
            <p:nvPr/>
          </p:nvSpPr>
          <p:spPr>
            <a:xfrm>
              <a:off x="4817033" y="466943"/>
              <a:ext cx="1916924" cy="1916924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Lekerekített téglalap 4"/>
            <p:cNvSpPr txBox="1"/>
            <p:nvPr/>
          </p:nvSpPr>
          <p:spPr>
            <a:xfrm>
              <a:off x="4910610" y="560520"/>
              <a:ext cx="1729770" cy="1729770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4401" tIns="44401" rIns="44401" bIns="44401" numCol="1" spcCol="1270" anchor="ctr" anchorCtr="0">
              <a:noAutofit/>
            </a:bodyPr>
            <a:lstStyle/>
            <a:p>
              <a:pPr algn="ctr" defTabSz="518003" fontAlgn="auto">
                <a:lnSpc>
                  <a:spcPct val="90000"/>
                </a:lnSpc>
                <a:spcAft>
                  <a:spcPct val="35000"/>
                </a:spcAft>
              </a:pPr>
              <a:r>
                <a:rPr lang="hu-HU" sz="1498" dirty="0">
                  <a:solidFill>
                    <a:srgbClr val="FFFFFF"/>
                  </a:solidFill>
                  <a:latin typeface="Calibri" panose="020F0502020204030204"/>
                </a:rPr>
                <a:t>ASZK Plusz</a:t>
              </a:r>
              <a:endParaRPr lang="hu-HU" sz="1498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pic>
        <p:nvPicPr>
          <p:cNvPr id="44" name="Kép 4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1578" y="4941109"/>
            <a:ext cx="2163080" cy="1429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858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>
          <a:xfrm rot="5400000">
            <a:off x="5986870" y="-1576185"/>
            <a:ext cx="424960" cy="7149444"/>
          </a:xfrm>
        </p:spPr>
        <p:txBody>
          <a:bodyPr rtlCol="0"/>
          <a:lstStyle/>
          <a:p>
            <a:pPr rtl="0"/>
            <a:r>
              <a:rPr lang="hu-HU" dirty="0" smtClean="0"/>
              <a:t>SZK+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/>
          </p:nvPr>
        </p:nvSpPr>
        <p:spPr>
          <a:xfrm>
            <a:off x="2691763" y="2364505"/>
            <a:ext cx="7058090" cy="745782"/>
          </a:xfrm>
        </p:spPr>
        <p:txBody>
          <a:bodyPr rtlCol="0"/>
          <a:lstStyle/>
          <a:p>
            <a:pPr marL="237858" indent="-237858" algn="just">
              <a:buFont typeface="Wingdings" panose="05000000000000000000" pitchFamily="2" charset="2"/>
              <a:buChar char="ü"/>
            </a:pPr>
            <a:r>
              <a:rPr lang="hu-HU" dirty="0" smtClean="0"/>
              <a:t>Széchenyi Kártya Folyószámlahitel Plusz önállóan is forgalmazásra kerül Mikro- és kisvállalti ügyfélkörben</a:t>
            </a:r>
          </a:p>
          <a:p>
            <a:pPr marL="237858" indent="-237858" algn="just">
              <a:buFont typeface="Wingdings" panose="05000000000000000000" pitchFamily="2" charset="2"/>
              <a:buChar char="ü"/>
            </a:pPr>
            <a:r>
              <a:rPr lang="hu-HU" dirty="0" smtClean="0"/>
              <a:t>Megszűnik az SZMM hitellel történő 40-60%-</a:t>
            </a:r>
            <a:r>
              <a:rPr lang="hu-HU" dirty="0" err="1" smtClean="0"/>
              <a:t>os</a:t>
            </a:r>
            <a:r>
              <a:rPr lang="hu-HU" dirty="0" smtClean="0"/>
              <a:t> arányú kombinációs kötelezettség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 rot="5400000">
            <a:off x="6021764" y="25364"/>
            <a:ext cx="379393" cy="7173666"/>
          </a:xfrm>
        </p:spPr>
        <p:txBody>
          <a:bodyPr rtlCol="0"/>
          <a:lstStyle/>
          <a:p>
            <a:pPr rtl="0"/>
            <a:r>
              <a:rPr lang="hu-HU" dirty="0" smtClean="0"/>
              <a:t>SZMM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6"/>
          </p:nvPr>
        </p:nvSpPr>
        <p:spPr>
          <a:xfrm>
            <a:off x="2691764" y="4000688"/>
            <a:ext cx="7082309" cy="745782"/>
          </a:xfrm>
        </p:spPr>
        <p:txBody>
          <a:bodyPr rtlCol="0"/>
          <a:lstStyle/>
          <a:p>
            <a:pPr marL="237858" indent="-237858" algn="just">
              <a:buFont typeface="Wingdings" panose="05000000000000000000" pitchFamily="2" charset="2"/>
              <a:buChar char="ü"/>
            </a:pPr>
            <a:r>
              <a:rPr lang="hu-HU" dirty="0" smtClean="0"/>
              <a:t>Adható hitelösszege </a:t>
            </a:r>
            <a:r>
              <a:rPr lang="hu-HU" dirty="0" err="1" smtClean="0"/>
              <a:t>max</a:t>
            </a:r>
            <a:r>
              <a:rPr lang="hu-HU" dirty="0" smtClean="0"/>
              <a:t>. 24 havi bérköltséggel egyező összegben kerül megállapításra (korábbi 9/18 havi helyett)</a:t>
            </a:r>
            <a:endParaRPr lang="en-US" dirty="0"/>
          </a:p>
          <a:p>
            <a:pPr rtl="0"/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7"/>
          </p:nvPr>
        </p:nvSpPr>
        <p:spPr>
          <a:xfrm rot="5400000">
            <a:off x="6017566" y="1530310"/>
            <a:ext cx="387790" cy="7173668"/>
          </a:xfrm>
        </p:spPr>
        <p:txBody>
          <a:bodyPr rtlCol="0"/>
          <a:lstStyle/>
          <a:p>
            <a:pPr rtl="0"/>
            <a:r>
              <a:rPr lang="hu-HU" dirty="0" smtClean="0"/>
              <a:t>Egyéb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8"/>
          </p:nvPr>
        </p:nvSpPr>
        <p:spPr>
          <a:xfrm>
            <a:off x="2691763" y="5398172"/>
            <a:ext cx="7082309" cy="745782"/>
          </a:xfrm>
        </p:spPr>
        <p:txBody>
          <a:bodyPr rtlCol="0"/>
          <a:lstStyle/>
          <a:p>
            <a:pPr marL="237858" indent="-237858" algn="just">
              <a:buFont typeface="Wingdings" panose="05000000000000000000" pitchFamily="2" charset="2"/>
              <a:buChar char="ü"/>
            </a:pPr>
            <a:r>
              <a:rPr lang="hu-HU" dirty="0" smtClean="0"/>
              <a:t>Középvállalati ügyfélkörben az SZK+ és SZMM kombinációs szabálya úgy módosul, hogy a jövőben egységnyi SZK+ mellé egységnyi SZMM igényelhető</a:t>
            </a:r>
            <a:endParaRPr lang="en-US" dirty="0"/>
          </a:p>
          <a:p>
            <a:pPr rt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Termékfeltétel módosulások az SZKP+ programb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29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227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754980"/>
            <a:ext cx="4933222" cy="479994"/>
          </a:xfrm>
        </p:spPr>
        <p:txBody>
          <a:bodyPr>
            <a:normAutofit fontScale="90000"/>
          </a:bodyPr>
          <a:lstStyle/>
          <a:p>
            <a:r>
              <a:rPr lang="hu-HU" sz="2580" b="1" u="sng" dirty="0" smtClean="0">
                <a:solidFill>
                  <a:schemeClr val="accent2">
                    <a:lumMod val="75000"/>
                  </a:schemeClr>
                </a:solidFill>
                <a:ea typeface="ＭＳ Ｐゴシック" pitchFamily="34" charset="-128"/>
              </a:rPr>
              <a:t>A </a:t>
            </a:r>
            <a:r>
              <a:rPr lang="hu-HU" sz="2580" b="1" u="sng" dirty="0">
                <a:solidFill>
                  <a:schemeClr val="accent2">
                    <a:lumMod val="75000"/>
                  </a:schemeClr>
                </a:solidFill>
                <a:ea typeface="ＭＳ Ｐゴシック" pitchFamily="34" charset="-128"/>
              </a:rPr>
              <a:t>legfontosabb jellemző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435396"/>
            <a:ext cx="7623544" cy="5497032"/>
          </a:xfrm>
        </p:spPr>
        <p:txBody>
          <a:bodyPr>
            <a:normAutofit/>
          </a:bodyPr>
          <a:lstStyle/>
          <a:p>
            <a:pPr lvl="0"/>
            <a:r>
              <a:rPr lang="hu-HU" b="1" u="sng" dirty="0" smtClean="0"/>
              <a:t>A </a:t>
            </a:r>
            <a:r>
              <a:rPr lang="hu-HU" b="1" u="sng" dirty="0"/>
              <a:t>kölcsön </a:t>
            </a:r>
            <a:r>
              <a:rPr lang="hu-HU" b="1" u="sng" dirty="0" smtClean="0"/>
              <a:t>összege:</a:t>
            </a:r>
            <a:endParaRPr lang="hu-HU" b="1" i="1" dirty="0"/>
          </a:p>
          <a:p>
            <a:pPr lvl="1"/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Min: 1.000.000,- Ft- </a:t>
            </a:r>
            <a:r>
              <a:rPr lang="hu-HU" sz="1400" b="1" dirty="0" err="1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max</a:t>
            </a:r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. 3.000.000,- Ft</a:t>
            </a:r>
          </a:p>
          <a:p>
            <a:pPr lvl="0"/>
            <a:r>
              <a:rPr lang="hu-HU" b="1" u="sng" dirty="0"/>
              <a:t>A kölcsön futamideje</a:t>
            </a:r>
            <a:r>
              <a:rPr lang="hu-HU" b="1" u="sng" dirty="0" smtClean="0"/>
              <a:t>:</a:t>
            </a:r>
          </a:p>
          <a:p>
            <a:pPr lvl="1"/>
            <a:r>
              <a:rPr lang="hu-HU" dirty="0"/>
              <a:t>36 – 84 </a:t>
            </a:r>
            <a:r>
              <a:rPr lang="hu-HU" dirty="0" smtClean="0"/>
              <a:t>hónap</a:t>
            </a:r>
            <a:endParaRPr lang="hu-HU" b="1" u="sng" dirty="0" smtClean="0"/>
          </a:p>
          <a:p>
            <a:r>
              <a:rPr lang="hu-HU" dirty="0"/>
              <a:t>Havi minimum igazolt jövedelem az igényléskor minden esetben el kell, hogy érje </a:t>
            </a:r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a 250 000 Ft</a:t>
            </a:r>
            <a:r>
              <a:rPr lang="hu-HU" dirty="0" smtClean="0"/>
              <a:t>.</a:t>
            </a:r>
          </a:p>
          <a:p>
            <a:r>
              <a:rPr lang="hu-HU" b="1" u="sng" dirty="0" smtClean="0"/>
              <a:t>Elvárt </a:t>
            </a:r>
            <a:r>
              <a:rPr lang="hu-HU" sz="1400" b="1" u="sng" dirty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jóváírás</a:t>
            </a:r>
            <a:r>
              <a:rPr lang="hu-HU" b="1" u="sng" dirty="0"/>
              <a:t> utalás </a:t>
            </a:r>
            <a:r>
              <a:rPr lang="hu-HU" b="1" u="sng" dirty="0" err="1" smtClean="0"/>
              <a:t>Sberbank</a:t>
            </a:r>
            <a:r>
              <a:rPr lang="hu-HU" b="1" u="sng" dirty="0" smtClean="0"/>
              <a:t> számlára </a:t>
            </a:r>
            <a:r>
              <a:rPr lang="hu-HU" b="1" u="sng" dirty="0"/>
              <a:t>folyósítást </a:t>
            </a:r>
            <a:r>
              <a:rPr lang="hu-HU" b="1" u="sng" dirty="0" smtClean="0"/>
              <a:t>követően:</a:t>
            </a:r>
          </a:p>
          <a:p>
            <a:pPr lvl="1"/>
            <a:r>
              <a:rPr lang="hu-HU" dirty="0"/>
              <a:t>az igényelt kölcsön összegétől függetlenül </a:t>
            </a:r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havi 250.000,- </a:t>
            </a:r>
            <a:r>
              <a:rPr lang="hu-HU" sz="1400" b="1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ＭＳ Ｐゴシック" pitchFamily="34" charset="-128"/>
                <a:cs typeface="+mj-cs"/>
              </a:rPr>
              <a:t>Ft</a:t>
            </a:r>
            <a:endParaRPr lang="hu-HU" sz="1400" b="1" dirty="0">
              <a:solidFill>
                <a:schemeClr val="accent2">
                  <a:lumMod val="75000"/>
                </a:schemeClr>
              </a:solidFill>
              <a:latin typeface="+mj-lt"/>
              <a:ea typeface="ＭＳ Ｐゴシック" pitchFamily="34" charset="-128"/>
              <a:cs typeface="+mj-cs"/>
            </a:endParaRPr>
          </a:p>
          <a:p>
            <a:pPr lvl="0"/>
            <a:r>
              <a:rPr lang="hu-HU" b="1" u="sng" dirty="0" smtClean="0"/>
              <a:t>Munkaviszony</a:t>
            </a:r>
            <a:r>
              <a:rPr lang="hu-HU" b="1" u="sng" dirty="0"/>
              <a:t>, jövedelmek elfogadása, jövedelmek igazolása:</a:t>
            </a:r>
            <a:endParaRPr lang="hu-HU" dirty="0"/>
          </a:p>
          <a:p>
            <a:pPr lvl="1"/>
            <a:r>
              <a:rPr lang="hu-HU" dirty="0"/>
              <a:t>Az ügyfél rendelkezik minimum 3 hónapos munkaviszonnyal  </a:t>
            </a:r>
          </a:p>
          <a:p>
            <a:pPr lvl="1"/>
            <a:r>
              <a:rPr lang="hu-HU" dirty="0"/>
              <a:t>Nyugdíjas esetén, ha az ügyfél most ment nyugdíjba, akkor minden esetben legalább egy havi nyugdíjának meg kell lennie. </a:t>
            </a:r>
          </a:p>
          <a:p>
            <a:r>
              <a:rPr lang="hu-HU" dirty="0"/>
              <a:t>Elfogadható a </a:t>
            </a:r>
            <a:r>
              <a:rPr lang="hu-HU" b="1" dirty="0"/>
              <a:t>bankfiókunkban nyomtatott e-kivonat, tranzakciós </a:t>
            </a:r>
            <a:r>
              <a:rPr lang="hu-HU" b="1" dirty="0" smtClean="0"/>
              <a:t>lista</a:t>
            </a:r>
          </a:p>
          <a:p>
            <a:endParaRPr lang="hu-HU" b="1" dirty="0"/>
          </a:p>
          <a:p>
            <a:pPr lvl="0"/>
            <a:endParaRPr lang="hu-HU" dirty="0"/>
          </a:p>
          <a:p>
            <a:pPr lvl="1"/>
            <a:endParaRPr lang="hu-HU" dirty="0">
              <a:solidFill>
                <a:srgbClr val="92D050"/>
              </a:solidFill>
            </a:endParaRPr>
          </a:p>
          <a:p>
            <a:endParaRPr lang="hu-HU" dirty="0"/>
          </a:p>
          <a:p>
            <a:endParaRPr lang="hu-HU" dirty="0"/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2253" y="2545881"/>
            <a:ext cx="2245630" cy="2012104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4756" y="754980"/>
            <a:ext cx="1479602" cy="50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86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Folyamat típusok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0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graphicFrame>
        <p:nvGraphicFramePr>
          <p:cNvPr id="30" name="Tartalom helye 3"/>
          <p:cNvGraphicFramePr>
            <a:graphicFrameLocks/>
          </p:cNvGraphicFramePr>
          <p:nvPr>
            <p:extLst/>
          </p:nvPr>
        </p:nvGraphicFramePr>
        <p:xfrm>
          <a:off x="103794" y="1083105"/>
          <a:ext cx="9737551" cy="55442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4330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échenyi Kártya Plus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  <a:solidFill>
            <a:schemeClr val="accent1"/>
          </a:solidFill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1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278339" y="2507074"/>
            <a:ext cx="6314223" cy="2372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Legfontosabb paraméterek</a:t>
            </a:r>
          </a:p>
          <a:p>
            <a:pPr marL="749160" lvl="1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abad felhasználású</a:t>
            </a:r>
          </a:p>
          <a:p>
            <a:pPr marL="749160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Futamidő: 2 év </a:t>
            </a:r>
          </a:p>
          <a:p>
            <a:pPr marL="749160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Működési </a:t>
            </a:r>
            <a:r>
              <a:rPr lang="hu-HU" sz="1665" dirty="0">
                <a:solidFill>
                  <a:srgbClr val="FFFFFF"/>
                </a:solidFill>
              </a:rPr>
              <a:t>múlt: 1 teljes lezárt ügyleti évre van szükség</a:t>
            </a:r>
          </a:p>
          <a:p>
            <a:pPr marL="749160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ámlaforgalom: 1x-es számlaforgalom 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332" dirty="0">
              <a:solidFill>
                <a:srgbClr val="000000"/>
              </a:solidFill>
              <a:latin typeface="Calibri" panose="020F0502020204030204"/>
              <a:cs typeface="+mn-cs"/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498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  <p:grpSp>
        <p:nvGrpSpPr>
          <p:cNvPr id="43" name="Группа 806"/>
          <p:cNvGrpSpPr/>
          <p:nvPr/>
        </p:nvGrpSpPr>
        <p:grpSpPr>
          <a:xfrm>
            <a:off x="8890247" y="1829839"/>
            <a:ext cx="412299" cy="413620"/>
            <a:chOff x="7340600" y="1938338"/>
            <a:chExt cx="495301" cy="496888"/>
          </a:xfrm>
          <a:solidFill>
            <a:schemeClr val="bg1"/>
          </a:solidFill>
        </p:grpSpPr>
        <p:sp>
          <p:nvSpPr>
            <p:cNvPr id="44" name="Line 705"/>
            <p:cNvSpPr>
              <a:spLocks noChangeShapeType="1"/>
            </p:cNvSpPr>
            <p:nvPr/>
          </p:nvSpPr>
          <p:spPr bwMode="auto">
            <a:xfrm>
              <a:off x="7502525" y="225742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5" name="Line 706"/>
            <p:cNvSpPr>
              <a:spLocks noChangeShapeType="1"/>
            </p:cNvSpPr>
            <p:nvPr/>
          </p:nvSpPr>
          <p:spPr bwMode="auto">
            <a:xfrm>
              <a:off x="7502525" y="2257426"/>
              <a:ext cx="0" cy="0"/>
            </a:xfrm>
            <a:prstGeom prst="lin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7" name="Freeform 707"/>
            <p:cNvSpPr>
              <a:spLocks/>
            </p:cNvSpPr>
            <p:nvPr/>
          </p:nvSpPr>
          <p:spPr bwMode="auto">
            <a:xfrm>
              <a:off x="7440613" y="2249488"/>
              <a:ext cx="255588" cy="107950"/>
            </a:xfrm>
            <a:custGeom>
              <a:avLst/>
              <a:gdLst>
                <a:gd name="T0" fmla="*/ 64 w 132"/>
                <a:gd name="T1" fmla="*/ 56 h 56"/>
                <a:gd name="T2" fmla="*/ 56 w 132"/>
                <a:gd name="T3" fmla="*/ 56 h 56"/>
                <a:gd name="T4" fmla="*/ 72 w 132"/>
                <a:gd name="T5" fmla="*/ 40 h 56"/>
                <a:gd name="T6" fmla="*/ 116 w 132"/>
                <a:gd name="T7" fmla="*/ 40 h 56"/>
                <a:gd name="T8" fmla="*/ 124 w 132"/>
                <a:gd name="T9" fmla="*/ 32 h 56"/>
                <a:gd name="T10" fmla="*/ 116 w 132"/>
                <a:gd name="T11" fmla="*/ 24 h 56"/>
                <a:gd name="T12" fmla="*/ 79 w 132"/>
                <a:gd name="T13" fmla="*/ 24 h 56"/>
                <a:gd name="T14" fmla="*/ 35 w 132"/>
                <a:gd name="T15" fmla="*/ 8 h 56"/>
                <a:gd name="T16" fmla="*/ 0 w 132"/>
                <a:gd name="T17" fmla="*/ 8 h 56"/>
                <a:gd name="T18" fmla="*/ 0 w 132"/>
                <a:gd name="T19" fmla="*/ 0 h 56"/>
                <a:gd name="T20" fmla="*/ 36 w 132"/>
                <a:gd name="T21" fmla="*/ 0 h 56"/>
                <a:gd name="T22" fmla="*/ 80 w 132"/>
                <a:gd name="T23" fmla="*/ 16 h 56"/>
                <a:gd name="T24" fmla="*/ 116 w 132"/>
                <a:gd name="T25" fmla="*/ 16 h 56"/>
                <a:gd name="T26" fmla="*/ 132 w 132"/>
                <a:gd name="T27" fmla="*/ 32 h 56"/>
                <a:gd name="T28" fmla="*/ 116 w 132"/>
                <a:gd name="T29" fmla="*/ 48 h 56"/>
                <a:gd name="T30" fmla="*/ 72 w 132"/>
                <a:gd name="T31" fmla="*/ 48 h 56"/>
                <a:gd name="T32" fmla="*/ 64 w 132"/>
                <a:gd name="T3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56">
                  <a:moveTo>
                    <a:pt x="64" y="56"/>
                  </a:moveTo>
                  <a:cubicBezTo>
                    <a:pt x="56" y="56"/>
                    <a:pt x="56" y="56"/>
                    <a:pt x="56" y="56"/>
                  </a:cubicBezTo>
                  <a:cubicBezTo>
                    <a:pt x="56" y="47"/>
                    <a:pt x="63" y="40"/>
                    <a:pt x="72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20" y="40"/>
                    <a:pt x="124" y="37"/>
                    <a:pt x="124" y="32"/>
                  </a:cubicBezTo>
                  <a:cubicBezTo>
                    <a:pt x="124" y="28"/>
                    <a:pt x="120" y="24"/>
                    <a:pt x="116" y="24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116" y="16"/>
                    <a:pt x="116" y="16"/>
                    <a:pt x="116" y="16"/>
                  </a:cubicBezTo>
                  <a:cubicBezTo>
                    <a:pt x="125" y="16"/>
                    <a:pt x="132" y="23"/>
                    <a:pt x="132" y="32"/>
                  </a:cubicBezTo>
                  <a:cubicBezTo>
                    <a:pt x="132" y="41"/>
                    <a:pt x="125" y="48"/>
                    <a:pt x="116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67" y="48"/>
                    <a:pt x="64" y="52"/>
                    <a:pt x="64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8" name="Freeform 708"/>
            <p:cNvSpPr>
              <a:spLocks/>
            </p:cNvSpPr>
            <p:nvPr/>
          </p:nvSpPr>
          <p:spPr bwMode="auto">
            <a:xfrm>
              <a:off x="7440613" y="2279651"/>
              <a:ext cx="395288" cy="155575"/>
            </a:xfrm>
            <a:custGeom>
              <a:avLst/>
              <a:gdLst>
                <a:gd name="T0" fmla="*/ 97 w 204"/>
                <a:gd name="T1" fmla="*/ 80 h 80"/>
                <a:gd name="T2" fmla="*/ 87 w 204"/>
                <a:gd name="T3" fmla="*/ 80 h 80"/>
                <a:gd name="T4" fmla="*/ 19 w 204"/>
                <a:gd name="T5" fmla="*/ 56 h 80"/>
                <a:gd name="T6" fmla="*/ 0 w 204"/>
                <a:gd name="T7" fmla="*/ 56 h 80"/>
                <a:gd name="T8" fmla="*/ 0 w 204"/>
                <a:gd name="T9" fmla="*/ 48 h 80"/>
                <a:gd name="T10" fmla="*/ 20 w 204"/>
                <a:gd name="T11" fmla="*/ 48 h 80"/>
                <a:gd name="T12" fmla="*/ 88 w 204"/>
                <a:gd name="T13" fmla="*/ 72 h 80"/>
                <a:gd name="T14" fmla="*/ 95 w 204"/>
                <a:gd name="T15" fmla="*/ 72 h 80"/>
                <a:gd name="T16" fmla="*/ 193 w 204"/>
                <a:gd name="T17" fmla="*/ 21 h 80"/>
                <a:gd name="T18" fmla="*/ 196 w 204"/>
                <a:gd name="T19" fmla="*/ 16 h 80"/>
                <a:gd name="T20" fmla="*/ 188 w 204"/>
                <a:gd name="T21" fmla="*/ 8 h 80"/>
                <a:gd name="T22" fmla="*/ 125 w 204"/>
                <a:gd name="T23" fmla="*/ 28 h 80"/>
                <a:gd name="T24" fmla="*/ 123 w 204"/>
                <a:gd name="T25" fmla="*/ 20 h 80"/>
                <a:gd name="T26" fmla="*/ 188 w 204"/>
                <a:gd name="T27" fmla="*/ 0 h 80"/>
                <a:gd name="T28" fmla="*/ 204 w 204"/>
                <a:gd name="T29" fmla="*/ 16 h 80"/>
                <a:gd name="T30" fmla="*/ 199 w 204"/>
                <a:gd name="T31" fmla="*/ 27 h 80"/>
                <a:gd name="T32" fmla="*/ 198 w 204"/>
                <a:gd name="T33" fmla="*/ 28 h 80"/>
                <a:gd name="T34" fmla="*/ 97 w 204"/>
                <a:gd name="T3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4" h="80">
                  <a:moveTo>
                    <a:pt x="97" y="80"/>
                  </a:moveTo>
                  <a:cubicBezTo>
                    <a:pt x="87" y="80"/>
                    <a:pt x="87" y="80"/>
                    <a:pt x="87" y="80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88" y="72"/>
                    <a:pt x="88" y="72"/>
                    <a:pt x="88" y="72"/>
                  </a:cubicBezTo>
                  <a:cubicBezTo>
                    <a:pt x="95" y="72"/>
                    <a:pt x="95" y="72"/>
                    <a:pt x="95" y="72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4" y="20"/>
                    <a:pt x="196" y="18"/>
                    <a:pt x="196" y="16"/>
                  </a:cubicBezTo>
                  <a:cubicBezTo>
                    <a:pt x="196" y="12"/>
                    <a:pt x="192" y="9"/>
                    <a:pt x="188" y="8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3" y="20"/>
                    <a:pt x="123" y="20"/>
                    <a:pt x="123" y="2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7" y="0"/>
                    <a:pt x="204" y="7"/>
                    <a:pt x="204" y="16"/>
                  </a:cubicBezTo>
                  <a:cubicBezTo>
                    <a:pt x="204" y="22"/>
                    <a:pt x="199" y="27"/>
                    <a:pt x="199" y="27"/>
                  </a:cubicBezTo>
                  <a:cubicBezTo>
                    <a:pt x="198" y="28"/>
                    <a:pt x="198" y="28"/>
                    <a:pt x="198" y="28"/>
                  </a:cubicBezTo>
                  <a:lnTo>
                    <a:pt x="97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9" name="Rectangle 709"/>
            <p:cNvSpPr>
              <a:spLocks noChangeArrowheads="1"/>
            </p:cNvSpPr>
            <p:nvPr/>
          </p:nvSpPr>
          <p:spPr bwMode="auto">
            <a:xfrm>
              <a:off x="7402513" y="235743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0" name="Rectangle 710"/>
            <p:cNvSpPr>
              <a:spLocks noChangeArrowheads="1"/>
            </p:cNvSpPr>
            <p:nvPr/>
          </p:nvSpPr>
          <p:spPr bwMode="auto">
            <a:xfrm>
              <a:off x="7370763" y="2357438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1" name="Freeform 711"/>
            <p:cNvSpPr>
              <a:spLocks/>
            </p:cNvSpPr>
            <p:nvPr/>
          </p:nvSpPr>
          <p:spPr bwMode="auto">
            <a:xfrm>
              <a:off x="7340600" y="2233613"/>
              <a:ext cx="107950" cy="169863"/>
            </a:xfrm>
            <a:custGeom>
              <a:avLst/>
              <a:gdLst>
                <a:gd name="T0" fmla="*/ 48 w 56"/>
                <a:gd name="T1" fmla="*/ 88 h 88"/>
                <a:gd name="T2" fmla="*/ 0 w 56"/>
                <a:gd name="T3" fmla="*/ 88 h 88"/>
                <a:gd name="T4" fmla="*/ 0 w 56"/>
                <a:gd name="T5" fmla="*/ 80 h 88"/>
                <a:gd name="T6" fmla="*/ 48 w 56"/>
                <a:gd name="T7" fmla="*/ 80 h 88"/>
                <a:gd name="T8" fmla="*/ 48 w 56"/>
                <a:gd name="T9" fmla="*/ 8 h 88"/>
                <a:gd name="T10" fmla="*/ 0 w 56"/>
                <a:gd name="T11" fmla="*/ 8 h 88"/>
                <a:gd name="T12" fmla="*/ 0 w 56"/>
                <a:gd name="T13" fmla="*/ 0 h 88"/>
                <a:gd name="T14" fmla="*/ 48 w 56"/>
                <a:gd name="T15" fmla="*/ 0 h 88"/>
                <a:gd name="T16" fmla="*/ 56 w 56"/>
                <a:gd name="T17" fmla="*/ 8 h 88"/>
                <a:gd name="T18" fmla="*/ 56 w 56"/>
                <a:gd name="T19" fmla="*/ 80 h 88"/>
                <a:gd name="T20" fmla="*/ 48 w 56"/>
                <a:gd name="T21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8">
                  <a:moveTo>
                    <a:pt x="48" y="88"/>
                  </a:moveTo>
                  <a:cubicBezTo>
                    <a:pt x="0" y="88"/>
                    <a:pt x="0" y="88"/>
                    <a:pt x="0" y="8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6" y="4"/>
                    <a:pt x="56" y="8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5"/>
                    <a:pt x="52" y="88"/>
                    <a:pt x="48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2" name="Rectangle 712"/>
            <p:cNvSpPr>
              <a:spLocks noChangeArrowheads="1"/>
            </p:cNvSpPr>
            <p:nvPr/>
          </p:nvSpPr>
          <p:spPr bwMode="auto">
            <a:xfrm>
              <a:off x="7448550" y="2187576"/>
              <a:ext cx="373063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3" name="Freeform 713"/>
            <p:cNvSpPr>
              <a:spLocks/>
            </p:cNvSpPr>
            <p:nvPr/>
          </p:nvSpPr>
          <p:spPr bwMode="auto">
            <a:xfrm>
              <a:off x="7542213" y="1938338"/>
              <a:ext cx="77788" cy="163513"/>
            </a:xfrm>
            <a:custGeom>
              <a:avLst/>
              <a:gdLst>
                <a:gd name="T0" fmla="*/ 10 w 49"/>
                <a:gd name="T1" fmla="*/ 103 h 103"/>
                <a:gd name="T2" fmla="*/ 0 w 49"/>
                <a:gd name="T3" fmla="*/ 103 h 103"/>
                <a:gd name="T4" fmla="*/ 0 w 49"/>
                <a:gd name="T5" fmla="*/ 0 h 103"/>
                <a:gd name="T6" fmla="*/ 49 w 49"/>
                <a:gd name="T7" fmla="*/ 0 h 103"/>
                <a:gd name="T8" fmla="*/ 49 w 49"/>
                <a:gd name="T9" fmla="*/ 68 h 103"/>
                <a:gd name="T10" fmla="*/ 39 w 49"/>
                <a:gd name="T11" fmla="*/ 68 h 103"/>
                <a:gd name="T12" fmla="*/ 39 w 49"/>
                <a:gd name="T13" fmla="*/ 10 h 103"/>
                <a:gd name="T14" fmla="*/ 10 w 49"/>
                <a:gd name="T15" fmla="*/ 10 h 103"/>
                <a:gd name="T16" fmla="*/ 10 w 49"/>
                <a:gd name="T17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103">
                  <a:moveTo>
                    <a:pt x="10" y="103"/>
                  </a:moveTo>
                  <a:lnTo>
                    <a:pt x="0" y="103"/>
                  </a:lnTo>
                  <a:lnTo>
                    <a:pt x="0" y="0"/>
                  </a:lnTo>
                  <a:lnTo>
                    <a:pt x="49" y="0"/>
                  </a:lnTo>
                  <a:lnTo>
                    <a:pt x="49" y="68"/>
                  </a:lnTo>
                  <a:lnTo>
                    <a:pt x="39" y="68"/>
                  </a:lnTo>
                  <a:lnTo>
                    <a:pt x="39" y="10"/>
                  </a:lnTo>
                  <a:lnTo>
                    <a:pt x="10" y="10"/>
                  </a:lnTo>
                  <a:lnTo>
                    <a:pt x="1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5" name="Freeform 714"/>
            <p:cNvSpPr>
              <a:spLocks/>
            </p:cNvSpPr>
            <p:nvPr/>
          </p:nvSpPr>
          <p:spPr bwMode="auto">
            <a:xfrm>
              <a:off x="7634288" y="1938338"/>
              <a:ext cx="47625" cy="107950"/>
            </a:xfrm>
            <a:custGeom>
              <a:avLst/>
              <a:gdLst>
                <a:gd name="T0" fmla="*/ 30 w 30"/>
                <a:gd name="T1" fmla="*/ 68 h 68"/>
                <a:gd name="T2" fmla="*/ 20 w 30"/>
                <a:gd name="T3" fmla="*/ 68 h 68"/>
                <a:gd name="T4" fmla="*/ 20 w 30"/>
                <a:gd name="T5" fmla="*/ 10 h 68"/>
                <a:gd name="T6" fmla="*/ 10 w 30"/>
                <a:gd name="T7" fmla="*/ 10 h 68"/>
                <a:gd name="T8" fmla="*/ 10 w 30"/>
                <a:gd name="T9" fmla="*/ 68 h 68"/>
                <a:gd name="T10" fmla="*/ 0 w 30"/>
                <a:gd name="T11" fmla="*/ 68 h 68"/>
                <a:gd name="T12" fmla="*/ 0 w 30"/>
                <a:gd name="T13" fmla="*/ 0 h 68"/>
                <a:gd name="T14" fmla="*/ 30 w 30"/>
                <a:gd name="T15" fmla="*/ 0 h 68"/>
                <a:gd name="T16" fmla="*/ 30 w 30"/>
                <a:gd name="T17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68">
                  <a:moveTo>
                    <a:pt x="30" y="68"/>
                  </a:moveTo>
                  <a:lnTo>
                    <a:pt x="20" y="68"/>
                  </a:lnTo>
                  <a:lnTo>
                    <a:pt x="20" y="10"/>
                  </a:lnTo>
                  <a:lnTo>
                    <a:pt x="10" y="10"/>
                  </a:lnTo>
                  <a:lnTo>
                    <a:pt x="10" y="68"/>
                  </a:lnTo>
                  <a:lnTo>
                    <a:pt x="0" y="68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6" name="Freeform 715"/>
            <p:cNvSpPr>
              <a:spLocks/>
            </p:cNvSpPr>
            <p:nvPr/>
          </p:nvSpPr>
          <p:spPr bwMode="auto">
            <a:xfrm>
              <a:off x="7696200" y="2005013"/>
              <a:ext cx="47625" cy="104775"/>
            </a:xfrm>
            <a:custGeom>
              <a:avLst/>
              <a:gdLst>
                <a:gd name="T0" fmla="*/ 30 w 30"/>
                <a:gd name="T1" fmla="*/ 66 h 66"/>
                <a:gd name="T2" fmla="*/ 20 w 30"/>
                <a:gd name="T3" fmla="*/ 66 h 66"/>
                <a:gd name="T4" fmla="*/ 20 w 30"/>
                <a:gd name="T5" fmla="*/ 20 h 66"/>
                <a:gd name="T6" fmla="*/ 10 w 30"/>
                <a:gd name="T7" fmla="*/ 15 h 66"/>
                <a:gd name="T8" fmla="*/ 10 w 30"/>
                <a:gd name="T9" fmla="*/ 66 h 66"/>
                <a:gd name="T10" fmla="*/ 0 w 30"/>
                <a:gd name="T11" fmla="*/ 66 h 66"/>
                <a:gd name="T12" fmla="*/ 0 w 30"/>
                <a:gd name="T13" fmla="*/ 0 h 66"/>
                <a:gd name="T14" fmla="*/ 30 w 30"/>
                <a:gd name="T15" fmla="*/ 14 h 66"/>
                <a:gd name="T16" fmla="*/ 30 w 30"/>
                <a:gd name="T17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66">
                  <a:moveTo>
                    <a:pt x="30" y="66"/>
                  </a:moveTo>
                  <a:lnTo>
                    <a:pt x="20" y="66"/>
                  </a:lnTo>
                  <a:lnTo>
                    <a:pt x="20" y="20"/>
                  </a:lnTo>
                  <a:lnTo>
                    <a:pt x="10" y="15"/>
                  </a:lnTo>
                  <a:lnTo>
                    <a:pt x="10" y="66"/>
                  </a:lnTo>
                  <a:lnTo>
                    <a:pt x="0" y="66"/>
                  </a:lnTo>
                  <a:lnTo>
                    <a:pt x="0" y="0"/>
                  </a:lnTo>
                  <a:lnTo>
                    <a:pt x="30" y="14"/>
                  </a:lnTo>
                  <a:lnTo>
                    <a:pt x="3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7" name="Freeform 716"/>
            <p:cNvSpPr>
              <a:spLocks/>
            </p:cNvSpPr>
            <p:nvPr/>
          </p:nvSpPr>
          <p:spPr bwMode="auto">
            <a:xfrm>
              <a:off x="7464425" y="2116138"/>
              <a:ext cx="155575" cy="77788"/>
            </a:xfrm>
            <a:custGeom>
              <a:avLst/>
              <a:gdLst>
                <a:gd name="T0" fmla="*/ 80 w 80"/>
                <a:gd name="T1" fmla="*/ 40 h 40"/>
                <a:gd name="T2" fmla="*/ 72 w 80"/>
                <a:gd name="T3" fmla="*/ 40 h 40"/>
                <a:gd name="T4" fmla="*/ 40 w 80"/>
                <a:gd name="T5" fmla="*/ 8 h 40"/>
                <a:gd name="T6" fmla="*/ 8 w 80"/>
                <a:gd name="T7" fmla="*/ 40 h 40"/>
                <a:gd name="T8" fmla="*/ 0 w 80"/>
                <a:gd name="T9" fmla="*/ 40 h 40"/>
                <a:gd name="T10" fmla="*/ 40 w 80"/>
                <a:gd name="T11" fmla="*/ 0 h 40"/>
                <a:gd name="T12" fmla="*/ 80 w 80"/>
                <a:gd name="T13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40">
                  <a:moveTo>
                    <a:pt x="80" y="40"/>
                  </a:moveTo>
                  <a:cubicBezTo>
                    <a:pt x="72" y="40"/>
                    <a:pt x="72" y="40"/>
                    <a:pt x="72" y="40"/>
                  </a:cubicBezTo>
                  <a:cubicBezTo>
                    <a:pt x="72" y="24"/>
                    <a:pt x="57" y="8"/>
                    <a:pt x="40" y="8"/>
                  </a:cubicBezTo>
                  <a:cubicBezTo>
                    <a:pt x="22" y="8"/>
                    <a:pt x="8" y="24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6"/>
                    <a:pt x="18" y="0"/>
                    <a:pt x="40" y="0"/>
                  </a:cubicBezTo>
                  <a:cubicBezTo>
                    <a:pt x="62" y="0"/>
                    <a:pt x="80" y="16"/>
                    <a:pt x="80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8" name="Rectangle 717"/>
            <p:cNvSpPr>
              <a:spLocks noChangeArrowheads="1"/>
            </p:cNvSpPr>
            <p:nvPr/>
          </p:nvSpPr>
          <p:spPr bwMode="auto">
            <a:xfrm>
              <a:off x="7572375" y="1970088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9" name="Rectangle 718"/>
            <p:cNvSpPr>
              <a:spLocks noChangeArrowheads="1"/>
            </p:cNvSpPr>
            <p:nvPr/>
          </p:nvSpPr>
          <p:spPr bwMode="auto">
            <a:xfrm>
              <a:off x="7572375" y="2000251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0" name="Rectangle 719"/>
            <p:cNvSpPr>
              <a:spLocks noChangeArrowheads="1"/>
            </p:cNvSpPr>
            <p:nvPr/>
          </p:nvSpPr>
          <p:spPr bwMode="auto">
            <a:xfrm>
              <a:off x="7572375" y="2032001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1" name="Freeform 720"/>
            <p:cNvSpPr>
              <a:spLocks/>
            </p:cNvSpPr>
            <p:nvPr/>
          </p:nvSpPr>
          <p:spPr bwMode="auto">
            <a:xfrm>
              <a:off x="7572375" y="2062163"/>
              <a:ext cx="233363" cy="139700"/>
            </a:xfrm>
            <a:custGeom>
              <a:avLst/>
              <a:gdLst>
                <a:gd name="T0" fmla="*/ 84 w 120"/>
                <a:gd name="T1" fmla="*/ 72 h 72"/>
                <a:gd name="T2" fmla="*/ 48 w 120"/>
                <a:gd name="T3" fmla="*/ 36 h 72"/>
                <a:gd name="T4" fmla="*/ 48 w 120"/>
                <a:gd name="T5" fmla="*/ 8 h 72"/>
                <a:gd name="T6" fmla="*/ 8 w 120"/>
                <a:gd name="T7" fmla="*/ 8 h 72"/>
                <a:gd name="T8" fmla="*/ 8 w 120"/>
                <a:gd name="T9" fmla="*/ 40 h 72"/>
                <a:gd name="T10" fmla="*/ 0 w 120"/>
                <a:gd name="T11" fmla="*/ 40 h 72"/>
                <a:gd name="T12" fmla="*/ 0 w 120"/>
                <a:gd name="T13" fmla="*/ 0 h 72"/>
                <a:gd name="T14" fmla="*/ 56 w 120"/>
                <a:gd name="T15" fmla="*/ 0 h 72"/>
                <a:gd name="T16" fmla="*/ 56 w 120"/>
                <a:gd name="T17" fmla="*/ 36 h 72"/>
                <a:gd name="T18" fmla="*/ 84 w 120"/>
                <a:gd name="T19" fmla="*/ 64 h 72"/>
                <a:gd name="T20" fmla="*/ 111 w 120"/>
                <a:gd name="T21" fmla="*/ 40 h 72"/>
                <a:gd name="T22" fmla="*/ 64 w 120"/>
                <a:gd name="T23" fmla="*/ 40 h 72"/>
                <a:gd name="T24" fmla="*/ 64 w 120"/>
                <a:gd name="T25" fmla="*/ 32 h 72"/>
                <a:gd name="T26" fmla="*/ 120 w 120"/>
                <a:gd name="T27" fmla="*/ 32 h 72"/>
                <a:gd name="T28" fmla="*/ 120 w 120"/>
                <a:gd name="T29" fmla="*/ 36 h 72"/>
                <a:gd name="T30" fmla="*/ 84 w 120"/>
                <a:gd name="T3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0" h="72">
                  <a:moveTo>
                    <a:pt x="84" y="72"/>
                  </a:moveTo>
                  <a:cubicBezTo>
                    <a:pt x="64" y="72"/>
                    <a:pt x="48" y="56"/>
                    <a:pt x="48" y="36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52"/>
                    <a:pt x="68" y="64"/>
                    <a:pt x="84" y="64"/>
                  </a:cubicBezTo>
                  <a:cubicBezTo>
                    <a:pt x="98" y="64"/>
                    <a:pt x="109" y="52"/>
                    <a:pt x="111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120" y="32"/>
                    <a:pt x="120" y="32"/>
                    <a:pt x="120" y="32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0" y="55"/>
                    <a:pt x="103" y="72"/>
                    <a:pt x="84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2" name="Rectangle 721"/>
            <p:cNvSpPr>
              <a:spLocks noChangeArrowheads="1"/>
            </p:cNvSpPr>
            <p:nvPr/>
          </p:nvSpPr>
          <p:spPr bwMode="auto">
            <a:xfrm>
              <a:off x="7604125" y="2093913"/>
              <a:ext cx="698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3" name="Rectangle 722"/>
            <p:cNvSpPr>
              <a:spLocks noChangeArrowheads="1"/>
            </p:cNvSpPr>
            <p:nvPr/>
          </p:nvSpPr>
          <p:spPr bwMode="auto">
            <a:xfrm>
              <a:off x="7620000" y="2124076"/>
              <a:ext cx="539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4" name="Freeform 723"/>
            <p:cNvSpPr>
              <a:spLocks/>
            </p:cNvSpPr>
            <p:nvPr/>
          </p:nvSpPr>
          <p:spPr bwMode="auto">
            <a:xfrm>
              <a:off x="7735888" y="2062163"/>
              <a:ext cx="53975" cy="47625"/>
            </a:xfrm>
            <a:custGeom>
              <a:avLst/>
              <a:gdLst>
                <a:gd name="T0" fmla="*/ 34 w 34"/>
                <a:gd name="T1" fmla="*/ 30 h 30"/>
                <a:gd name="T2" fmla="*/ 24 w 34"/>
                <a:gd name="T3" fmla="*/ 30 h 30"/>
                <a:gd name="T4" fmla="*/ 24 w 34"/>
                <a:gd name="T5" fmla="*/ 10 h 30"/>
                <a:gd name="T6" fmla="*/ 0 w 34"/>
                <a:gd name="T7" fmla="*/ 10 h 30"/>
                <a:gd name="T8" fmla="*/ 0 w 34"/>
                <a:gd name="T9" fmla="*/ 0 h 30"/>
                <a:gd name="T10" fmla="*/ 34 w 34"/>
                <a:gd name="T11" fmla="*/ 0 h 30"/>
                <a:gd name="T12" fmla="*/ 34 w 34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0">
                  <a:moveTo>
                    <a:pt x="34" y="30"/>
                  </a:moveTo>
                  <a:lnTo>
                    <a:pt x="24" y="30"/>
                  </a:lnTo>
                  <a:lnTo>
                    <a:pt x="2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4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5" name="Rectangle 724"/>
            <p:cNvSpPr>
              <a:spLocks noChangeArrowheads="1"/>
            </p:cNvSpPr>
            <p:nvPr/>
          </p:nvSpPr>
          <p:spPr bwMode="auto">
            <a:xfrm>
              <a:off x="7510463" y="2155826"/>
              <a:ext cx="15875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6" name="Rectangle 725"/>
            <p:cNvSpPr>
              <a:spLocks noChangeArrowheads="1"/>
            </p:cNvSpPr>
            <p:nvPr/>
          </p:nvSpPr>
          <p:spPr bwMode="auto">
            <a:xfrm>
              <a:off x="7542213" y="215582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  <p:pic>
        <p:nvPicPr>
          <p:cNvPr id="6" name="Kép helye 5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62" r="21262"/>
          <a:stretch>
            <a:fillRect/>
          </a:stretch>
        </p:blipFill>
        <p:spPr>
          <a:xfrm>
            <a:off x="207472" y="1573299"/>
            <a:ext cx="2845124" cy="4666110"/>
          </a:xfrm>
        </p:spPr>
      </p:pic>
    </p:spTree>
    <p:extLst>
      <p:ext uri="{BB962C8B-B14F-4D97-AF65-F5344CB8AC3E}">
        <p14:creationId xmlns:p14="http://schemas.microsoft.com/office/powerpoint/2010/main" val="4067571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échenyi Munkahelymegtartó hit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  <a:solidFill>
            <a:schemeClr val="accent5"/>
          </a:solidFill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2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278339" y="2020126"/>
            <a:ext cx="6314223" cy="42686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Legfontosabb paraméterek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Munkahely megtartási kötelezettség vállalás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2019. dec. 31-én foglalkozatottak 90%át meg kell tartani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Vizsgált időszak: hitel </a:t>
            </a:r>
            <a:r>
              <a:rPr lang="hu-HU" sz="1665" dirty="0" err="1">
                <a:solidFill>
                  <a:srgbClr val="FFFFFF"/>
                </a:solidFill>
              </a:rPr>
              <a:t>futamidejének</a:t>
            </a:r>
            <a:r>
              <a:rPr lang="hu-HU" sz="1665" dirty="0">
                <a:solidFill>
                  <a:srgbClr val="FFFFFF"/>
                </a:solidFill>
              </a:rPr>
              <a:t> utolsó 6 hónapja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ankcionálás nem megfelelés esetén: 1 évre kizárás az összes SZKP programból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998" b="1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Egyéb </a:t>
            </a:r>
            <a:r>
              <a:rPr lang="hu-HU" sz="1998" b="1" dirty="0">
                <a:solidFill>
                  <a:srgbClr val="FFFFFF"/>
                </a:solidFill>
              </a:rPr>
              <a:t>paraméterek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Futamidő: fix 2 év 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Rendelkezésre </a:t>
            </a:r>
            <a:r>
              <a:rPr lang="hu-HU" sz="1665" dirty="0">
                <a:solidFill>
                  <a:srgbClr val="FFFFFF"/>
                </a:solidFill>
              </a:rPr>
              <a:t>tartási idő: </a:t>
            </a:r>
            <a:r>
              <a:rPr lang="hu-HU" sz="1665" dirty="0">
                <a:solidFill>
                  <a:srgbClr val="FFFFFF"/>
                </a:solidFill>
              </a:rPr>
              <a:t>1-8 </a:t>
            </a:r>
            <a:r>
              <a:rPr lang="hu-HU" sz="1665" dirty="0">
                <a:solidFill>
                  <a:srgbClr val="FFFFFF"/>
                </a:solidFill>
              </a:rPr>
              <a:t>hónap 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Türelmi idő: </a:t>
            </a:r>
            <a:r>
              <a:rPr lang="hu-HU" sz="1665" dirty="0">
                <a:solidFill>
                  <a:srgbClr val="FFFFFF"/>
                </a:solidFill>
              </a:rPr>
              <a:t>1-9 </a:t>
            </a:r>
            <a:r>
              <a:rPr lang="hu-HU" sz="1665" dirty="0">
                <a:solidFill>
                  <a:srgbClr val="FFFFFF"/>
                </a:solidFill>
              </a:rPr>
              <a:t>hónap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Tőketörlesztés: </a:t>
            </a:r>
            <a:r>
              <a:rPr lang="hu-HU" sz="1665" dirty="0">
                <a:solidFill>
                  <a:srgbClr val="FFFFFF"/>
                </a:solidFill>
              </a:rPr>
              <a:t>lineáris egyenlő részletekben</a:t>
            </a:r>
            <a:endParaRPr lang="hu-HU" sz="1665" dirty="0">
              <a:solidFill>
                <a:srgbClr val="FFFFFF"/>
              </a:solidFill>
            </a:endParaRP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Működési múlt: 1 teljes lezárt ügyleti évre van szükség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ámlaforgalom: 1x-es számlaforgalom 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332" dirty="0">
              <a:solidFill>
                <a:srgbClr val="000000"/>
              </a:solidFill>
              <a:latin typeface="Calibri" panose="020F0502020204030204"/>
              <a:cs typeface="+mn-cs"/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498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7" name="Kép helye 6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21" r="9121"/>
          <a:stretch>
            <a:fillRect/>
          </a:stretch>
        </p:blipFill>
        <p:spPr>
          <a:xfrm>
            <a:off x="145362" y="1571977"/>
            <a:ext cx="2907233" cy="4667431"/>
          </a:xfrm>
        </p:spPr>
      </p:pic>
      <p:grpSp>
        <p:nvGrpSpPr>
          <p:cNvPr id="45" name="Группа 724"/>
          <p:cNvGrpSpPr/>
          <p:nvPr/>
        </p:nvGrpSpPr>
        <p:grpSpPr>
          <a:xfrm>
            <a:off x="8857812" y="1960388"/>
            <a:ext cx="413620" cy="413620"/>
            <a:chOff x="3532188" y="1946276"/>
            <a:chExt cx="496888" cy="496888"/>
          </a:xfrm>
          <a:solidFill>
            <a:schemeClr val="bg1"/>
          </a:solidFill>
        </p:grpSpPr>
        <p:sp>
          <p:nvSpPr>
            <p:cNvPr id="47" name="Rectangle 275"/>
            <p:cNvSpPr>
              <a:spLocks noChangeArrowheads="1"/>
            </p:cNvSpPr>
            <p:nvPr/>
          </p:nvSpPr>
          <p:spPr bwMode="auto">
            <a:xfrm>
              <a:off x="3609976" y="21875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8" name="Rectangle 276"/>
            <p:cNvSpPr>
              <a:spLocks noChangeArrowheads="1"/>
            </p:cNvSpPr>
            <p:nvPr/>
          </p:nvSpPr>
          <p:spPr bwMode="auto">
            <a:xfrm>
              <a:off x="3579813" y="1946276"/>
              <a:ext cx="14288" cy="396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9" name="Freeform 277"/>
            <p:cNvSpPr>
              <a:spLocks/>
            </p:cNvSpPr>
            <p:nvPr/>
          </p:nvSpPr>
          <p:spPr bwMode="auto">
            <a:xfrm>
              <a:off x="3579813" y="2109789"/>
              <a:ext cx="123825" cy="123825"/>
            </a:xfrm>
            <a:custGeom>
              <a:avLst/>
              <a:gdLst>
                <a:gd name="T0" fmla="*/ 56 w 64"/>
                <a:gd name="T1" fmla="*/ 64 h 64"/>
                <a:gd name="T2" fmla="*/ 8 w 64"/>
                <a:gd name="T3" fmla="*/ 64 h 64"/>
                <a:gd name="T4" fmla="*/ 0 w 64"/>
                <a:gd name="T5" fmla="*/ 56 h 64"/>
                <a:gd name="T6" fmla="*/ 0 w 64"/>
                <a:gd name="T7" fmla="*/ 0 h 64"/>
                <a:gd name="T8" fmla="*/ 8 w 64"/>
                <a:gd name="T9" fmla="*/ 0 h 64"/>
                <a:gd name="T10" fmla="*/ 8 w 64"/>
                <a:gd name="T11" fmla="*/ 56 h 64"/>
                <a:gd name="T12" fmla="*/ 56 w 64"/>
                <a:gd name="T13" fmla="*/ 56 h 64"/>
                <a:gd name="T14" fmla="*/ 56 w 64"/>
                <a:gd name="T15" fmla="*/ 4 h 64"/>
                <a:gd name="T16" fmla="*/ 64 w 64"/>
                <a:gd name="T17" fmla="*/ 4 h 64"/>
                <a:gd name="T18" fmla="*/ 64 w 64"/>
                <a:gd name="T19" fmla="*/ 56 h 64"/>
                <a:gd name="T20" fmla="*/ 56 w 64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4">
                  <a:moveTo>
                    <a:pt x="56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60"/>
                    <a:pt x="60" y="64"/>
                    <a:pt x="5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0" name="Rectangle 278"/>
            <p:cNvSpPr>
              <a:spLocks noChangeArrowheads="1"/>
            </p:cNvSpPr>
            <p:nvPr/>
          </p:nvSpPr>
          <p:spPr bwMode="auto">
            <a:xfrm>
              <a:off x="3687763" y="1946276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1" name="Freeform 279"/>
            <p:cNvSpPr>
              <a:spLocks/>
            </p:cNvSpPr>
            <p:nvPr/>
          </p:nvSpPr>
          <p:spPr bwMode="auto">
            <a:xfrm>
              <a:off x="3532188" y="1978026"/>
              <a:ext cx="217488" cy="139700"/>
            </a:xfrm>
            <a:custGeom>
              <a:avLst/>
              <a:gdLst>
                <a:gd name="T0" fmla="*/ 56 w 112"/>
                <a:gd name="T1" fmla="*/ 72 h 72"/>
                <a:gd name="T2" fmla="*/ 20 w 112"/>
                <a:gd name="T3" fmla="*/ 72 h 72"/>
                <a:gd name="T4" fmla="*/ 8 w 112"/>
                <a:gd name="T5" fmla="*/ 60 h 72"/>
                <a:gd name="T6" fmla="*/ 9 w 112"/>
                <a:gd name="T7" fmla="*/ 55 h 72"/>
                <a:gd name="T8" fmla="*/ 0 w 112"/>
                <a:gd name="T9" fmla="*/ 44 h 72"/>
                <a:gd name="T10" fmla="*/ 9 w 112"/>
                <a:gd name="T11" fmla="*/ 32 h 72"/>
                <a:gd name="T12" fmla="*/ 8 w 112"/>
                <a:gd name="T13" fmla="*/ 28 h 72"/>
                <a:gd name="T14" fmla="*/ 17 w 112"/>
                <a:gd name="T15" fmla="*/ 16 h 72"/>
                <a:gd name="T16" fmla="*/ 16 w 112"/>
                <a:gd name="T17" fmla="*/ 12 h 72"/>
                <a:gd name="T18" fmla="*/ 28 w 112"/>
                <a:gd name="T19" fmla="*/ 0 h 72"/>
                <a:gd name="T20" fmla="*/ 65 w 112"/>
                <a:gd name="T21" fmla="*/ 0 h 72"/>
                <a:gd name="T22" fmla="*/ 105 w 112"/>
                <a:gd name="T23" fmla="*/ 12 h 72"/>
                <a:gd name="T24" fmla="*/ 112 w 112"/>
                <a:gd name="T25" fmla="*/ 12 h 72"/>
                <a:gd name="T26" fmla="*/ 112 w 112"/>
                <a:gd name="T27" fmla="*/ 20 h 72"/>
                <a:gd name="T28" fmla="*/ 103 w 112"/>
                <a:gd name="T29" fmla="*/ 20 h 72"/>
                <a:gd name="T30" fmla="*/ 63 w 112"/>
                <a:gd name="T31" fmla="*/ 8 h 72"/>
                <a:gd name="T32" fmla="*/ 28 w 112"/>
                <a:gd name="T33" fmla="*/ 8 h 72"/>
                <a:gd name="T34" fmla="*/ 24 w 112"/>
                <a:gd name="T35" fmla="*/ 12 h 72"/>
                <a:gd name="T36" fmla="*/ 28 w 112"/>
                <a:gd name="T37" fmla="*/ 16 h 72"/>
                <a:gd name="T38" fmla="*/ 28 w 112"/>
                <a:gd name="T39" fmla="*/ 24 h 72"/>
                <a:gd name="T40" fmla="*/ 20 w 112"/>
                <a:gd name="T41" fmla="*/ 24 h 72"/>
                <a:gd name="T42" fmla="*/ 16 w 112"/>
                <a:gd name="T43" fmla="*/ 28 h 72"/>
                <a:gd name="T44" fmla="*/ 20 w 112"/>
                <a:gd name="T45" fmla="*/ 32 h 72"/>
                <a:gd name="T46" fmla="*/ 20 w 112"/>
                <a:gd name="T47" fmla="*/ 40 h 72"/>
                <a:gd name="T48" fmla="*/ 12 w 112"/>
                <a:gd name="T49" fmla="*/ 40 h 72"/>
                <a:gd name="T50" fmla="*/ 8 w 112"/>
                <a:gd name="T51" fmla="*/ 44 h 72"/>
                <a:gd name="T52" fmla="*/ 12 w 112"/>
                <a:gd name="T53" fmla="*/ 48 h 72"/>
                <a:gd name="T54" fmla="*/ 20 w 112"/>
                <a:gd name="T55" fmla="*/ 48 h 72"/>
                <a:gd name="T56" fmla="*/ 20 w 112"/>
                <a:gd name="T57" fmla="*/ 56 h 72"/>
                <a:gd name="T58" fmla="*/ 16 w 112"/>
                <a:gd name="T59" fmla="*/ 60 h 72"/>
                <a:gd name="T60" fmla="*/ 20 w 112"/>
                <a:gd name="T61" fmla="*/ 64 h 72"/>
                <a:gd name="T62" fmla="*/ 56 w 112"/>
                <a:gd name="T63" fmla="*/ 64 h 72"/>
                <a:gd name="T64" fmla="*/ 56 w 112"/>
                <a:gd name="T6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2" h="72">
                  <a:moveTo>
                    <a:pt x="56" y="72"/>
                  </a:moveTo>
                  <a:cubicBezTo>
                    <a:pt x="20" y="72"/>
                    <a:pt x="20" y="72"/>
                    <a:pt x="20" y="72"/>
                  </a:cubicBezTo>
                  <a:cubicBezTo>
                    <a:pt x="13" y="72"/>
                    <a:pt x="8" y="66"/>
                    <a:pt x="8" y="60"/>
                  </a:cubicBezTo>
                  <a:cubicBezTo>
                    <a:pt x="8" y="58"/>
                    <a:pt x="8" y="57"/>
                    <a:pt x="9" y="55"/>
                  </a:cubicBezTo>
                  <a:cubicBezTo>
                    <a:pt x="4" y="54"/>
                    <a:pt x="0" y="49"/>
                    <a:pt x="0" y="44"/>
                  </a:cubicBezTo>
                  <a:cubicBezTo>
                    <a:pt x="0" y="38"/>
                    <a:pt x="4" y="34"/>
                    <a:pt x="9" y="32"/>
                  </a:cubicBezTo>
                  <a:cubicBezTo>
                    <a:pt x="8" y="31"/>
                    <a:pt x="8" y="29"/>
                    <a:pt x="8" y="28"/>
                  </a:cubicBezTo>
                  <a:cubicBezTo>
                    <a:pt x="8" y="22"/>
                    <a:pt x="12" y="18"/>
                    <a:pt x="17" y="16"/>
                  </a:cubicBezTo>
                  <a:cubicBezTo>
                    <a:pt x="16" y="15"/>
                    <a:pt x="16" y="13"/>
                    <a:pt x="16" y="12"/>
                  </a:cubicBezTo>
                  <a:cubicBezTo>
                    <a:pt x="16" y="5"/>
                    <a:pt x="21" y="0"/>
                    <a:pt x="28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112" y="12"/>
                    <a:pt x="112" y="12"/>
                    <a:pt x="112" y="12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6" y="8"/>
                    <a:pt x="24" y="10"/>
                    <a:pt x="24" y="12"/>
                  </a:cubicBezTo>
                  <a:cubicBezTo>
                    <a:pt x="24" y="14"/>
                    <a:pt x="26" y="16"/>
                    <a:pt x="28" y="16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18" y="24"/>
                    <a:pt x="16" y="26"/>
                    <a:pt x="16" y="28"/>
                  </a:cubicBezTo>
                  <a:cubicBezTo>
                    <a:pt x="16" y="30"/>
                    <a:pt x="18" y="32"/>
                    <a:pt x="20" y="32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12" y="40"/>
                    <a:pt x="12" y="40"/>
                    <a:pt x="12" y="40"/>
                  </a:cubicBezTo>
                  <a:cubicBezTo>
                    <a:pt x="10" y="40"/>
                    <a:pt x="8" y="42"/>
                    <a:pt x="8" y="44"/>
                  </a:cubicBezTo>
                  <a:cubicBezTo>
                    <a:pt x="8" y="46"/>
                    <a:pt x="10" y="48"/>
                    <a:pt x="12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18" y="56"/>
                    <a:pt x="16" y="58"/>
                    <a:pt x="16" y="60"/>
                  </a:cubicBezTo>
                  <a:cubicBezTo>
                    <a:pt x="16" y="62"/>
                    <a:pt x="18" y="64"/>
                    <a:pt x="20" y="64"/>
                  </a:cubicBezTo>
                  <a:cubicBezTo>
                    <a:pt x="56" y="64"/>
                    <a:pt x="56" y="64"/>
                    <a:pt x="56" y="64"/>
                  </a:cubicBezTo>
                  <a:lnTo>
                    <a:pt x="56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2" name="Rectangle 280"/>
            <p:cNvSpPr>
              <a:spLocks noChangeArrowheads="1"/>
            </p:cNvSpPr>
            <p:nvPr/>
          </p:nvSpPr>
          <p:spPr bwMode="auto">
            <a:xfrm>
              <a:off x="3571876" y="2071689"/>
              <a:ext cx="460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3" name="Rectangle 281"/>
            <p:cNvSpPr>
              <a:spLocks noChangeArrowheads="1"/>
            </p:cNvSpPr>
            <p:nvPr/>
          </p:nvSpPr>
          <p:spPr bwMode="auto">
            <a:xfrm>
              <a:off x="3571876" y="2039939"/>
              <a:ext cx="460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5" name="Rectangle 282"/>
            <p:cNvSpPr>
              <a:spLocks noChangeArrowheads="1"/>
            </p:cNvSpPr>
            <p:nvPr/>
          </p:nvSpPr>
          <p:spPr bwMode="auto">
            <a:xfrm>
              <a:off x="3586163" y="2008189"/>
              <a:ext cx="31750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6" name="Freeform 283"/>
            <p:cNvSpPr>
              <a:spLocks/>
            </p:cNvSpPr>
            <p:nvPr/>
          </p:nvSpPr>
          <p:spPr bwMode="auto">
            <a:xfrm>
              <a:off x="3602038" y="2093914"/>
              <a:ext cx="147638" cy="53975"/>
            </a:xfrm>
            <a:custGeom>
              <a:avLst/>
              <a:gdLst>
                <a:gd name="T0" fmla="*/ 29 w 76"/>
                <a:gd name="T1" fmla="*/ 28 h 28"/>
                <a:gd name="T2" fmla="*/ 12 w 76"/>
                <a:gd name="T3" fmla="*/ 28 h 28"/>
                <a:gd name="T4" fmla="*/ 0 w 76"/>
                <a:gd name="T5" fmla="*/ 16 h 28"/>
                <a:gd name="T6" fmla="*/ 0 w 76"/>
                <a:gd name="T7" fmla="*/ 8 h 28"/>
                <a:gd name="T8" fmla="*/ 8 w 76"/>
                <a:gd name="T9" fmla="*/ 8 h 28"/>
                <a:gd name="T10" fmla="*/ 8 w 76"/>
                <a:gd name="T11" fmla="*/ 16 h 28"/>
                <a:gd name="T12" fmla="*/ 12 w 76"/>
                <a:gd name="T13" fmla="*/ 20 h 28"/>
                <a:gd name="T14" fmla="*/ 27 w 76"/>
                <a:gd name="T15" fmla="*/ 20 h 28"/>
                <a:gd name="T16" fmla="*/ 42 w 76"/>
                <a:gd name="T17" fmla="*/ 12 h 28"/>
                <a:gd name="T18" fmla="*/ 59 w 76"/>
                <a:gd name="T19" fmla="*/ 0 h 28"/>
                <a:gd name="T20" fmla="*/ 76 w 76"/>
                <a:gd name="T21" fmla="*/ 0 h 28"/>
                <a:gd name="T22" fmla="*/ 76 w 76"/>
                <a:gd name="T23" fmla="*/ 8 h 28"/>
                <a:gd name="T24" fmla="*/ 61 w 76"/>
                <a:gd name="T25" fmla="*/ 8 h 28"/>
                <a:gd name="T26" fmla="*/ 46 w 76"/>
                <a:gd name="T27" fmla="*/ 19 h 28"/>
                <a:gd name="T28" fmla="*/ 29 w 76"/>
                <a:gd name="T2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28">
                  <a:moveTo>
                    <a:pt x="29" y="28"/>
                  </a:moveTo>
                  <a:cubicBezTo>
                    <a:pt x="12" y="28"/>
                    <a:pt x="12" y="28"/>
                    <a:pt x="12" y="28"/>
                  </a:cubicBezTo>
                  <a:cubicBezTo>
                    <a:pt x="5" y="28"/>
                    <a:pt x="0" y="22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8"/>
                    <a:pt x="10" y="20"/>
                    <a:pt x="12" y="20"/>
                  </a:cubicBezTo>
                  <a:cubicBezTo>
                    <a:pt x="27" y="20"/>
                    <a:pt x="27" y="20"/>
                    <a:pt x="27" y="20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61" y="8"/>
                    <a:pt x="61" y="8"/>
                    <a:pt x="61" y="8"/>
                  </a:cubicBezTo>
                  <a:cubicBezTo>
                    <a:pt x="46" y="19"/>
                    <a:pt x="46" y="19"/>
                    <a:pt x="46" y="19"/>
                  </a:cubicBezTo>
                  <a:lnTo>
                    <a:pt x="29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7" name="Rectangle 284"/>
            <p:cNvSpPr>
              <a:spLocks noChangeArrowheads="1"/>
            </p:cNvSpPr>
            <p:nvPr/>
          </p:nvSpPr>
          <p:spPr bwMode="auto">
            <a:xfrm>
              <a:off x="3773488" y="2024064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8" name="Rectangle 285"/>
            <p:cNvSpPr>
              <a:spLocks noChangeArrowheads="1"/>
            </p:cNvSpPr>
            <p:nvPr/>
          </p:nvSpPr>
          <p:spPr bwMode="auto">
            <a:xfrm>
              <a:off x="3989388" y="1993901"/>
              <a:ext cx="396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9" name="Freeform 286"/>
            <p:cNvSpPr>
              <a:spLocks/>
            </p:cNvSpPr>
            <p:nvPr/>
          </p:nvSpPr>
          <p:spPr bwMode="auto">
            <a:xfrm>
              <a:off x="3741738" y="1993901"/>
              <a:ext cx="123825" cy="123825"/>
            </a:xfrm>
            <a:custGeom>
              <a:avLst/>
              <a:gdLst>
                <a:gd name="T0" fmla="*/ 60 w 64"/>
                <a:gd name="T1" fmla="*/ 64 h 64"/>
                <a:gd name="T2" fmla="*/ 8 w 64"/>
                <a:gd name="T3" fmla="*/ 64 h 64"/>
                <a:gd name="T4" fmla="*/ 0 w 64"/>
                <a:gd name="T5" fmla="*/ 56 h 64"/>
                <a:gd name="T6" fmla="*/ 0 w 64"/>
                <a:gd name="T7" fmla="*/ 8 h 64"/>
                <a:gd name="T8" fmla="*/ 8 w 64"/>
                <a:gd name="T9" fmla="*/ 0 h 64"/>
                <a:gd name="T10" fmla="*/ 64 w 64"/>
                <a:gd name="T11" fmla="*/ 0 h 64"/>
                <a:gd name="T12" fmla="*/ 64 w 64"/>
                <a:gd name="T13" fmla="*/ 8 h 64"/>
                <a:gd name="T14" fmla="*/ 8 w 64"/>
                <a:gd name="T15" fmla="*/ 8 h 64"/>
                <a:gd name="T16" fmla="*/ 8 w 64"/>
                <a:gd name="T17" fmla="*/ 56 h 64"/>
                <a:gd name="T18" fmla="*/ 60 w 64"/>
                <a:gd name="T19" fmla="*/ 56 h 64"/>
                <a:gd name="T20" fmla="*/ 60 w 64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4">
                  <a:moveTo>
                    <a:pt x="60" y="64"/>
                  </a:moveTo>
                  <a:cubicBezTo>
                    <a:pt x="8" y="64"/>
                    <a:pt x="8" y="64"/>
                    <a:pt x="8" y="64"/>
                  </a:cubicBezTo>
                  <a:cubicBezTo>
                    <a:pt x="4" y="64"/>
                    <a:pt x="0" y="60"/>
                    <a:pt x="0" y="5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60" y="56"/>
                    <a:pt x="60" y="56"/>
                    <a:pt x="60" y="56"/>
                  </a:cubicBezTo>
                  <a:lnTo>
                    <a:pt x="60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0" name="Rectangle 287"/>
            <p:cNvSpPr>
              <a:spLocks noChangeArrowheads="1"/>
            </p:cNvSpPr>
            <p:nvPr/>
          </p:nvSpPr>
          <p:spPr bwMode="auto">
            <a:xfrm>
              <a:off x="3981451" y="2101851"/>
              <a:ext cx="476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1" name="Freeform 288"/>
            <p:cNvSpPr>
              <a:spLocks/>
            </p:cNvSpPr>
            <p:nvPr/>
          </p:nvSpPr>
          <p:spPr bwMode="auto">
            <a:xfrm>
              <a:off x="3857626" y="1946276"/>
              <a:ext cx="139700" cy="217488"/>
            </a:xfrm>
            <a:custGeom>
              <a:avLst/>
              <a:gdLst>
                <a:gd name="T0" fmla="*/ 60 w 72"/>
                <a:gd name="T1" fmla="*/ 112 h 112"/>
                <a:gd name="T2" fmla="*/ 52 w 72"/>
                <a:gd name="T3" fmla="*/ 112 h 112"/>
                <a:gd name="T4" fmla="*/ 52 w 72"/>
                <a:gd name="T5" fmla="*/ 103 h 112"/>
                <a:gd name="T6" fmla="*/ 64 w 72"/>
                <a:gd name="T7" fmla="*/ 63 h 112"/>
                <a:gd name="T8" fmla="*/ 64 w 72"/>
                <a:gd name="T9" fmla="*/ 28 h 112"/>
                <a:gd name="T10" fmla="*/ 60 w 72"/>
                <a:gd name="T11" fmla="*/ 24 h 112"/>
                <a:gd name="T12" fmla="*/ 56 w 72"/>
                <a:gd name="T13" fmla="*/ 28 h 112"/>
                <a:gd name="T14" fmla="*/ 48 w 72"/>
                <a:gd name="T15" fmla="*/ 28 h 112"/>
                <a:gd name="T16" fmla="*/ 48 w 72"/>
                <a:gd name="T17" fmla="*/ 20 h 112"/>
                <a:gd name="T18" fmla="*/ 44 w 72"/>
                <a:gd name="T19" fmla="*/ 16 h 112"/>
                <a:gd name="T20" fmla="*/ 40 w 72"/>
                <a:gd name="T21" fmla="*/ 20 h 112"/>
                <a:gd name="T22" fmla="*/ 32 w 72"/>
                <a:gd name="T23" fmla="*/ 20 h 112"/>
                <a:gd name="T24" fmla="*/ 32 w 72"/>
                <a:gd name="T25" fmla="*/ 12 h 112"/>
                <a:gd name="T26" fmla="*/ 28 w 72"/>
                <a:gd name="T27" fmla="*/ 8 h 112"/>
                <a:gd name="T28" fmla="*/ 24 w 72"/>
                <a:gd name="T29" fmla="*/ 12 h 112"/>
                <a:gd name="T30" fmla="*/ 24 w 72"/>
                <a:gd name="T31" fmla="*/ 20 h 112"/>
                <a:gd name="T32" fmla="*/ 16 w 72"/>
                <a:gd name="T33" fmla="*/ 20 h 112"/>
                <a:gd name="T34" fmla="*/ 12 w 72"/>
                <a:gd name="T35" fmla="*/ 16 h 112"/>
                <a:gd name="T36" fmla="*/ 8 w 72"/>
                <a:gd name="T37" fmla="*/ 20 h 112"/>
                <a:gd name="T38" fmla="*/ 8 w 72"/>
                <a:gd name="T39" fmla="*/ 56 h 112"/>
                <a:gd name="T40" fmla="*/ 0 w 72"/>
                <a:gd name="T41" fmla="*/ 56 h 112"/>
                <a:gd name="T42" fmla="*/ 0 w 72"/>
                <a:gd name="T43" fmla="*/ 20 h 112"/>
                <a:gd name="T44" fmla="*/ 12 w 72"/>
                <a:gd name="T45" fmla="*/ 8 h 112"/>
                <a:gd name="T46" fmla="*/ 16 w 72"/>
                <a:gd name="T47" fmla="*/ 9 h 112"/>
                <a:gd name="T48" fmla="*/ 28 w 72"/>
                <a:gd name="T49" fmla="*/ 0 h 112"/>
                <a:gd name="T50" fmla="*/ 40 w 72"/>
                <a:gd name="T51" fmla="*/ 9 h 112"/>
                <a:gd name="T52" fmla="*/ 44 w 72"/>
                <a:gd name="T53" fmla="*/ 8 h 112"/>
                <a:gd name="T54" fmla="*/ 56 w 72"/>
                <a:gd name="T55" fmla="*/ 17 h 112"/>
                <a:gd name="T56" fmla="*/ 60 w 72"/>
                <a:gd name="T57" fmla="*/ 16 h 112"/>
                <a:gd name="T58" fmla="*/ 72 w 72"/>
                <a:gd name="T59" fmla="*/ 28 h 112"/>
                <a:gd name="T60" fmla="*/ 72 w 72"/>
                <a:gd name="T61" fmla="*/ 65 h 112"/>
                <a:gd name="T62" fmla="*/ 60 w 72"/>
                <a:gd name="T63" fmla="*/ 104 h 112"/>
                <a:gd name="T64" fmla="*/ 60 w 72"/>
                <a:gd name="T6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12">
                  <a:moveTo>
                    <a:pt x="60" y="112"/>
                  </a:moveTo>
                  <a:cubicBezTo>
                    <a:pt x="52" y="112"/>
                    <a:pt x="52" y="112"/>
                    <a:pt x="52" y="112"/>
                  </a:cubicBezTo>
                  <a:cubicBezTo>
                    <a:pt x="52" y="103"/>
                    <a:pt x="52" y="103"/>
                    <a:pt x="52" y="103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6"/>
                    <a:pt x="62" y="24"/>
                    <a:pt x="60" y="24"/>
                  </a:cubicBezTo>
                  <a:cubicBezTo>
                    <a:pt x="58" y="24"/>
                    <a:pt x="56" y="26"/>
                    <a:pt x="56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8" y="18"/>
                    <a:pt x="46" y="16"/>
                    <a:pt x="44" y="16"/>
                  </a:cubicBezTo>
                  <a:cubicBezTo>
                    <a:pt x="42" y="16"/>
                    <a:pt x="40" y="18"/>
                    <a:pt x="40" y="20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0"/>
                    <a:pt x="30" y="8"/>
                    <a:pt x="28" y="8"/>
                  </a:cubicBezTo>
                  <a:cubicBezTo>
                    <a:pt x="26" y="8"/>
                    <a:pt x="24" y="10"/>
                    <a:pt x="24" y="12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8"/>
                    <a:pt x="14" y="16"/>
                    <a:pt x="12" y="16"/>
                  </a:cubicBezTo>
                  <a:cubicBezTo>
                    <a:pt x="10" y="16"/>
                    <a:pt x="8" y="18"/>
                    <a:pt x="8" y="20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3"/>
                    <a:pt x="5" y="8"/>
                    <a:pt x="12" y="8"/>
                  </a:cubicBezTo>
                  <a:cubicBezTo>
                    <a:pt x="14" y="8"/>
                    <a:pt x="15" y="8"/>
                    <a:pt x="16" y="9"/>
                  </a:cubicBezTo>
                  <a:cubicBezTo>
                    <a:pt x="18" y="4"/>
                    <a:pt x="22" y="0"/>
                    <a:pt x="28" y="0"/>
                  </a:cubicBezTo>
                  <a:cubicBezTo>
                    <a:pt x="34" y="0"/>
                    <a:pt x="38" y="4"/>
                    <a:pt x="40" y="9"/>
                  </a:cubicBezTo>
                  <a:cubicBezTo>
                    <a:pt x="41" y="8"/>
                    <a:pt x="42" y="8"/>
                    <a:pt x="44" y="8"/>
                  </a:cubicBezTo>
                  <a:cubicBezTo>
                    <a:pt x="50" y="8"/>
                    <a:pt x="54" y="12"/>
                    <a:pt x="56" y="17"/>
                  </a:cubicBezTo>
                  <a:cubicBezTo>
                    <a:pt x="57" y="16"/>
                    <a:pt x="58" y="16"/>
                    <a:pt x="60" y="16"/>
                  </a:cubicBezTo>
                  <a:cubicBezTo>
                    <a:pt x="67" y="16"/>
                    <a:pt x="72" y="21"/>
                    <a:pt x="72" y="28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60" y="104"/>
                    <a:pt x="60" y="104"/>
                    <a:pt x="60" y="104"/>
                  </a:cubicBezTo>
                  <a:lnTo>
                    <a:pt x="60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2" name="Rectangle 289"/>
            <p:cNvSpPr>
              <a:spLocks noChangeArrowheads="1"/>
            </p:cNvSpPr>
            <p:nvPr/>
          </p:nvSpPr>
          <p:spPr bwMode="auto">
            <a:xfrm>
              <a:off x="3889376" y="1985964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3" name="Rectangle 290"/>
            <p:cNvSpPr>
              <a:spLocks noChangeArrowheads="1"/>
            </p:cNvSpPr>
            <p:nvPr/>
          </p:nvSpPr>
          <p:spPr bwMode="auto">
            <a:xfrm>
              <a:off x="3919538" y="1985964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4" name="Rectangle 291"/>
            <p:cNvSpPr>
              <a:spLocks noChangeArrowheads="1"/>
            </p:cNvSpPr>
            <p:nvPr/>
          </p:nvSpPr>
          <p:spPr bwMode="auto">
            <a:xfrm>
              <a:off x="3951288" y="2001839"/>
              <a:ext cx="15875" cy="301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5" name="Freeform 292"/>
            <p:cNvSpPr>
              <a:spLocks/>
            </p:cNvSpPr>
            <p:nvPr/>
          </p:nvSpPr>
          <p:spPr bwMode="auto">
            <a:xfrm>
              <a:off x="3827463" y="2016126"/>
              <a:ext cx="53975" cy="147638"/>
            </a:xfrm>
            <a:custGeom>
              <a:avLst/>
              <a:gdLst>
                <a:gd name="T0" fmla="*/ 28 w 28"/>
                <a:gd name="T1" fmla="*/ 76 h 76"/>
                <a:gd name="T2" fmla="*/ 20 w 28"/>
                <a:gd name="T3" fmla="*/ 76 h 76"/>
                <a:gd name="T4" fmla="*/ 20 w 28"/>
                <a:gd name="T5" fmla="*/ 61 h 76"/>
                <a:gd name="T6" fmla="*/ 8 w 28"/>
                <a:gd name="T7" fmla="*/ 46 h 76"/>
                <a:gd name="T8" fmla="*/ 0 w 28"/>
                <a:gd name="T9" fmla="*/ 29 h 76"/>
                <a:gd name="T10" fmla="*/ 0 w 28"/>
                <a:gd name="T11" fmla="*/ 12 h 76"/>
                <a:gd name="T12" fmla="*/ 12 w 28"/>
                <a:gd name="T13" fmla="*/ 0 h 76"/>
                <a:gd name="T14" fmla="*/ 20 w 28"/>
                <a:gd name="T15" fmla="*/ 0 h 76"/>
                <a:gd name="T16" fmla="*/ 20 w 28"/>
                <a:gd name="T17" fmla="*/ 8 h 76"/>
                <a:gd name="T18" fmla="*/ 12 w 28"/>
                <a:gd name="T19" fmla="*/ 8 h 76"/>
                <a:gd name="T20" fmla="*/ 8 w 28"/>
                <a:gd name="T21" fmla="*/ 12 h 76"/>
                <a:gd name="T22" fmla="*/ 8 w 28"/>
                <a:gd name="T23" fmla="*/ 27 h 76"/>
                <a:gd name="T24" fmla="*/ 15 w 28"/>
                <a:gd name="T25" fmla="*/ 42 h 76"/>
                <a:gd name="T26" fmla="*/ 28 w 28"/>
                <a:gd name="T27" fmla="*/ 59 h 76"/>
                <a:gd name="T28" fmla="*/ 28 w 28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76">
                  <a:moveTo>
                    <a:pt x="28" y="76"/>
                  </a:moveTo>
                  <a:cubicBezTo>
                    <a:pt x="20" y="76"/>
                    <a:pt x="20" y="76"/>
                    <a:pt x="20" y="76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0" y="8"/>
                    <a:pt x="8" y="10"/>
                    <a:pt x="8" y="12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28" y="59"/>
                    <a:pt x="28" y="59"/>
                    <a:pt x="28" y="59"/>
                  </a:cubicBezTo>
                  <a:lnTo>
                    <a:pt x="28" y="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6" name="Rectangle 293"/>
            <p:cNvSpPr>
              <a:spLocks noChangeArrowheads="1"/>
            </p:cNvSpPr>
            <p:nvPr/>
          </p:nvSpPr>
          <p:spPr bwMode="auto">
            <a:xfrm>
              <a:off x="3935413" y="2187576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7" name="Rectangle 294"/>
            <p:cNvSpPr>
              <a:spLocks noChangeArrowheads="1"/>
            </p:cNvSpPr>
            <p:nvPr/>
          </p:nvSpPr>
          <p:spPr bwMode="auto">
            <a:xfrm>
              <a:off x="3857626" y="2397126"/>
              <a:ext cx="15875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8" name="Freeform 295"/>
            <p:cNvSpPr>
              <a:spLocks/>
            </p:cNvSpPr>
            <p:nvPr/>
          </p:nvSpPr>
          <p:spPr bwMode="auto">
            <a:xfrm>
              <a:off x="3857626" y="2155826"/>
              <a:ext cx="123825" cy="117475"/>
            </a:xfrm>
            <a:custGeom>
              <a:avLst/>
              <a:gdLst>
                <a:gd name="T0" fmla="*/ 8 w 64"/>
                <a:gd name="T1" fmla="*/ 60 h 60"/>
                <a:gd name="T2" fmla="*/ 0 w 64"/>
                <a:gd name="T3" fmla="*/ 60 h 60"/>
                <a:gd name="T4" fmla="*/ 0 w 64"/>
                <a:gd name="T5" fmla="*/ 8 h 60"/>
                <a:gd name="T6" fmla="*/ 8 w 64"/>
                <a:gd name="T7" fmla="*/ 0 h 60"/>
                <a:gd name="T8" fmla="*/ 56 w 64"/>
                <a:gd name="T9" fmla="*/ 0 h 60"/>
                <a:gd name="T10" fmla="*/ 64 w 64"/>
                <a:gd name="T11" fmla="*/ 8 h 60"/>
                <a:gd name="T12" fmla="*/ 64 w 64"/>
                <a:gd name="T13" fmla="*/ 56 h 60"/>
                <a:gd name="T14" fmla="*/ 56 w 64"/>
                <a:gd name="T15" fmla="*/ 56 h 60"/>
                <a:gd name="T16" fmla="*/ 56 w 64"/>
                <a:gd name="T17" fmla="*/ 8 h 60"/>
                <a:gd name="T18" fmla="*/ 8 w 64"/>
                <a:gd name="T19" fmla="*/ 8 h 60"/>
                <a:gd name="T20" fmla="*/ 8 w 64"/>
                <a:gd name="T21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0">
                  <a:moveTo>
                    <a:pt x="8" y="60"/>
                  </a:moveTo>
                  <a:cubicBezTo>
                    <a:pt x="0" y="60"/>
                    <a:pt x="0" y="60"/>
                    <a:pt x="0" y="6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4" y="0"/>
                    <a:pt x="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0"/>
                    <a:pt x="64" y="3"/>
                    <a:pt x="64" y="8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8" y="8"/>
                    <a:pt x="8" y="8"/>
                    <a:pt x="8" y="8"/>
                  </a:cubicBezTo>
                  <a:lnTo>
                    <a:pt x="8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99" name="Rectangle 296"/>
            <p:cNvSpPr>
              <a:spLocks noChangeArrowheads="1"/>
            </p:cNvSpPr>
            <p:nvPr/>
          </p:nvSpPr>
          <p:spPr bwMode="auto">
            <a:xfrm>
              <a:off x="3967163" y="2389189"/>
              <a:ext cx="14288" cy="53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0" name="Freeform 297"/>
            <p:cNvSpPr>
              <a:spLocks/>
            </p:cNvSpPr>
            <p:nvPr/>
          </p:nvSpPr>
          <p:spPr bwMode="auto">
            <a:xfrm>
              <a:off x="3811588" y="2257426"/>
              <a:ext cx="217488" cy="139700"/>
            </a:xfrm>
            <a:custGeom>
              <a:avLst/>
              <a:gdLst>
                <a:gd name="T0" fmla="*/ 92 w 112"/>
                <a:gd name="T1" fmla="*/ 72 h 72"/>
                <a:gd name="T2" fmla="*/ 56 w 112"/>
                <a:gd name="T3" fmla="*/ 72 h 72"/>
                <a:gd name="T4" fmla="*/ 56 w 112"/>
                <a:gd name="T5" fmla="*/ 64 h 72"/>
                <a:gd name="T6" fmla="*/ 92 w 112"/>
                <a:gd name="T7" fmla="*/ 64 h 72"/>
                <a:gd name="T8" fmla="*/ 96 w 112"/>
                <a:gd name="T9" fmla="*/ 60 h 72"/>
                <a:gd name="T10" fmla="*/ 92 w 112"/>
                <a:gd name="T11" fmla="*/ 56 h 72"/>
                <a:gd name="T12" fmla="*/ 92 w 112"/>
                <a:gd name="T13" fmla="*/ 48 h 72"/>
                <a:gd name="T14" fmla="*/ 100 w 112"/>
                <a:gd name="T15" fmla="*/ 48 h 72"/>
                <a:gd name="T16" fmla="*/ 104 w 112"/>
                <a:gd name="T17" fmla="*/ 44 h 72"/>
                <a:gd name="T18" fmla="*/ 100 w 112"/>
                <a:gd name="T19" fmla="*/ 40 h 72"/>
                <a:gd name="T20" fmla="*/ 92 w 112"/>
                <a:gd name="T21" fmla="*/ 40 h 72"/>
                <a:gd name="T22" fmla="*/ 92 w 112"/>
                <a:gd name="T23" fmla="*/ 32 h 72"/>
                <a:gd name="T24" fmla="*/ 96 w 112"/>
                <a:gd name="T25" fmla="*/ 28 h 72"/>
                <a:gd name="T26" fmla="*/ 92 w 112"/>
                <a:gd name="T27" fmla="*/ 24 h 72"/>
                <a:gd name="T28" fmla="*/ 84 w 112"/>
                <a:gd name="T29" fmla="*/ 24 h 72"/>
                <a:gd name="T30" fmla="*/ 84 w 112"/>
                <a:gd name="T31" fmla="*/ 16 h 72"/>
                <a:gd name="T32" fmla="*/ 88 w 112"/>
                <a:gd name="T33" fmla="*/ 12 h 72"/>
                <a:gd name="T34" fmla="*/ 84 w 112"/>
                <a:gd name="T35" fmla="*/ 8 h 72"/>
                <a:gd name="T36" fmla="*/ 49 w 112"/>
                <a:gd name="T37" fmla="*/ 8 h 72"/>
                <a:gd name="T38" fmla="*/ 8 w 112"/>
                <a:gd name="T39" fmla="*/ 20 h 72"/>
                <a:gd name="T40" fmla="*/ 0 w 112"/>
                <a:gd name="T41" fmla="*/ 20 h 72"/>
                <a:gd name="T42" fmla="*/ 0 w 112"/>
                <a:gd name="T43" fmla="*/ 12 h 72"/>
                <a:gd name="T44" fmla="*/ 7 w 112"/>
                <a:gd name="T45" fmla="*/ 12 h 72"/>
                <a:gd name="T46" fmla="*/ 48 w 112"/>
                <a:gd name="T47" fmla="*/ 0 h 72"/>
                <a:gd name="T48" fmla="*/ 84 w 112"/>
                <a:gd name="T49" fmla="*/ 0 h 72"/>
                <a:gd name="T50" fmla="*/ 96 w 112"/>
                <a:gd name="T51" fmla="*/ 12 h 72"/>
                <a:gd name="T52" fmla="*/ 95 w 112"/>
                <a:gd name="T53" fmla="*/ 16 h 72"/>
                <a:gd name="T54" fmla="*/ 104 w 112"/>
                <a:gd name="T55" fmla="*/ 28 h 72"/>
                <a:gd name="T56" fmla="*/ 103 w 112"/>
                <a:gd name="T57" fmla="*/ 32 h 72"/>
                <a:gd name="T58" fmla="*/ 112 w 112"/>
                <a:gd name="T59" fmla="*/ 44 h 72"/>
                <a:gd name="T60" fmla="*/ 103 w 112"/>
                <a:gd name="T61" fmla="*/ 55 h 72"/>
                <a:gd name="T62" fmla="*/ 104 w 112"/>
                <a:gd name="T63" fmla="*/ 60 h 72"/>
                <a:gd name="T64" fmla="*/ 92 w 112"/>
                <a:gd name="T6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2" h="72">
                  <a:moveTo>
                    <a:pt x="92" y="72"/>
                  </a:moveTo>
                  <a:cubicBezTo>
                    <a:pt x="56" y="72"/>
                    <a:pt x="56" y="72"/>
                    <a:pt x="56" y="72"/>
                  </a:cubicBezTo>
                  <a:cubicBezTo>
                    <a:pt x="56" y="64"/>
                    <a:pt x="56" y="64"/>
                    <a:pt x="56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4" y="64"/>
                    <a:pt x="96" y="62"/>
                    <a:pt x="96" y="60"/>
                  </a:cubicBezTo>
                  <a:cubicBezTo>
                    <a:pt x="96" y="58"/>
                    <a:pt x="94" y="56"/>
                    <a:pt x="92" y="56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102" y="48"/>
                    <a:pt x="104" y="46"/>
                    <a:pt x="104" y="44"/>
                  </a:cubicBezTo>
                  <a:cubicBezTo>
                    <a:pt x="104" y="42"/>
                    <a:pt x="102" y="40"/>
                    <a:pt x="100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4" y="32"/>
                    <a:pt x="96" y="30"/>
                    <a:pt x="96" y="28"/>
                  </a:cubicBezTo>
                  <a:cubicBezTo>
                    <a:pt x="96" y="26"/>
                    <a:pt x="94" y="24"/>
                    <a:pt x="92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6" y="16"/>
                    <a:pt x="88" y="14"/>
                    <a:pt x="88" y="12"/>
                  </a:cubicBezTo>
                  <a:cubicBezTo>
                    <a:pt x="88" y="10"/>
                    <a:pt x="86" y="8"/>
                    <a:pt x="84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1" y="0"/>
                    <a:pt x="96" y="5"/>
                    <a:pt x="96" y="12"/>
                  </a:cubicBezTo>
                  <a:cubicBezTo>
                    <a:pt x="96" y="13"/>
                    <a:pt x="96" y="15"/>
                    <a:pt x="95" y="16"/>
                  </a:cubicBezTo>
                  <a:cubicBezTo>
                    <a:pt x="100" y="18"/>
                    <a:pt x="104" y="22"/>
                    <a:pt x="104" y="28"/>
                  </a:cubicBezTo>
                  <a:cubicBezTo>
                    <a:pt x="104" y="29"/>
                    <a:pt x="104" y="31"/>
                    <a:pt x="103" y="32"/>
                  </a:cubicBezTo>
                  <a:cubicBezTo>
                    <a:pt x="108" y="34"/>
                    <a:pt x="112" y="38"/>
                    <a:pt x="112" y="44"/>
                  </a:cubicBezTo>
                  <a:cubicBezTo>
                    <a:pt x="112" y="49"/>
                    <a:pt x="108" y="54"/>
                    <a:pt x="103" y="55"/>
                  </a:cubicBezTo>
                  <a:cubicBezTo>
                    <a:pt x="104" y="57"/>
                    <a:pt x="104" y="58"/>
                    <a:pt x="104" y="60"/>
                  </a:cubicBezTo>
                  <a:cubicBezTo>
                    <a:pt x="104" y="66"/>
                    <a:pt x="99" y="72"/>
                    <a:pt x="9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1" name="Rectangle 298"/>
            <p:cNvSpPr>
              <a:spLocks noChangeArrowheads="1"/>
            </p:cNvSpPr>
            <p:nvPr/>
          </p:nvSpPr>
          <p:spPr bwMode="auto">
            <a:xfrm>
              <a:off x="3943351" y="2351089"/>
              <a:ext cx="4603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2" name="Rectangle 299"/>
            <p:cNvSpPr>
              <a:spLocks noChangeArrowheads="1"/>
            </p:cNvSpPr>
            <p:nvPr/>
          </p:nvSpPr>
          <p:spPr bwMode="auto">
            <a:xfrm>
              <a:off x="3943351" y="2319339"/>
              <a:ext cx="460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3" name="Rectangle 300"/>
            <p:cNvSpPr>
              <a:spLocks noChangeArrowheads="1"/>
            </p:cNvSpPr>
            <p:nvPr/>
          </p:nvSpPr>
          <p:spPr bwMode="auto">
            <a:xfrm>
              <a:off x="3943351" y="2287589"/>
              <a:ext cx="3016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4" name="Freeform 301"/>
            <p:cNvSpPr>
              <a:spLocks/>
            </p:cNvSpPr>
            <p:nvPr/>
          </p:nvSpPr>
          <p:spPr bwMode="auto">
            <a:xfrm>
              <a:off x="3811588" y="2373314"/>
              <a:ext cx="147638" cy="53975"/>
            </a:xfrm>
            <a:custGeom>
              <a:avLst/>
              <a:gdLst>
                <a:gd name="T0" fmla="*/ 64 w 76"/>
                <a:gd name="T1" fmla="*/ 28 h 28"/>
                <a:gd name="T2" fmla="*/ 47 w 76"/>
                <a:gd name="T3" fmla="*/ 28 h 28"/>
                <a:gd name="T4" fmla="*/ 30 w 76"/>
                <a:gd name="T5" fmla="*/ 19 h 28"/>
                <a:gd name="T6" fmla="*/ 15 w 76"/>
                <a:gd name="T7" fmla="*/ 8 h 28"/>
                <a:gd name="T8" fmla="*/ 0 w 76"/>
                <a:gd name="T9" fmla="*/ 8 h 28"/>
                <a:gd name="T10" fmla="*/ 0 w 76"/>
                <a:gd name="T11" fmla="*/ 0 h 28"/>
                <a:gd name="T12" fmla="*/ 17 w 76"/>
                <a:gd name="T13" fmla="*/ 0 h 28"/>
                <a:gd name="T14" fmla="*/ 34 w 76"/>
                <a:gd name="T15" fmla="*/ 12 h 28"/>
                <a:gd name="T16" fmla="*/ 49 w 76"/>
                <a:gd name="T17" fmla="*/ 20 h 28"/>
                <a:gd name="T18" fmla="*/ 64 w 76"/>
                <a:gd name="T19" fmla="*/ 20 h 28"/>
                <a:gd name="T20" fmla="*/ 68 w 76"/>
                <a:gd name="T21" fmla="*/ 16 h 28"/>
                <a:gd name="T22" fmla="*/ 68 w 76"/>
                <a:gd name="T23" fmla="*/ 8 h 28"/>
                <a:gd name="T24" fmla="*/ 76 w 76"/>
                <a:gd name="T25" fmla="*/ 8 h 28"/>
                <a:gd name="T26" fmla="*/ 76 w 76"/>
                <a:gd name="T27" fmla="*/ 16 h 28"/>
                <a:gd name="T28" fmla="*/ 64 w 76"/>
                <a:gd name="T2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28">
                  <a:moveTo>
                    <a:pt x="64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6" y="20"/>
                    <a:pt x="68" y="18"/>
                    <a:pt x="68" y="16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6" y="16"/>
                    <a:pt x="76" y="16"/>
                    <a:pt x="76" y="16"/>
                  </a:cubicBezTo>
                  <a:cubicBezTo>
                    <a:pt x="76" y="22"/>
                    <a:pt x="71" y="28"/>
                    <a:pt x="6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5" name="Rectangle 302"/>
            <p:cNvSpPr>
              <a:spLocks noChangeArrowheads="1"/>
            </p:cNvSpPr>
            <p:nvPr/>
          </p:nvSpPr>
          <p:spPr bwMode="auto">
            <a:xfrm>
              <a:off x="3773488" y="2303464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6" name="Rectangle 303"/>
            <p:cNvSpPr>
              <a:spLocks noChangeArrowheads="1"/>
            </p:cNvSpPr>
            <p:nvPr/>
          </p:nvSpPr>
          <p:spPr bwMode="auto">
            <a:xfrm>
              <a:off x="3532188" y="2273301"/>
              <a:ext cx="539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7" name="Freeform 304"/>
            <p:cNvSpPr>
              <a:spLocks/>
            </p:cNvSpPr>
            <p:nvPr/>
          </p:nvSpPr>
          <p:spPr bwMode="auto">
            <a:xfrm>
              <a:off x="3695701" y="2273301"/>
              <a:ext cx="123825" cy="123825"/>
            </a:xfrm>
            <a:custGeom>
              <a:avLst/>
              <a:gdLst>
                <a:gd name="T0" fmla="*/ 56 w 64"/>
                <a:gd name="T1" fmla="*/ 64 h 64"/>
                <a:gd name="T2" fmla="*/ 0 w 64"/>
                <a:gd name="T3" fmla="*/ 64 h 64"/>
                <a:gd name="T4" fmla="*/ 0 w 64"/>
                <a:gd name="T5" fmla="*/ 56 h 64"/>
                <a:gd name="T6" fmla="*/ 56 w 64"/>
                <a:gd name="T7" fmla="*/ 56 h 64"/>
                <a:gd name="T8" fmla="*/ 56 w 64"/>
                <a:gd name="T9" fmla="*/ 8 h 64"/>
                <a:gd name="T10" fmla="*/ 8 w 64"/>
                <a:gd name="T11" fmla="*/ 8 h 64"/>
                <a:gd name="T12" fmla="*/ 8 w 64"/>
                <a:gd name="T13" fmla="*/ 0 h 64"/>
                <a:gd name="T14" fmla="*/ 56 w 64"/>
                <a:gd name="T15" fmla="*/ 0 h 64"/>
                <a:gd name="T16" fmla="*/ 64 w 64"/>
                <a:gd name="T17" fmla="*/ 8 h 64"/>
                <a:gd name="T18" fmla="*/ 64 w 64"/>
                <a:gd name="T19" fmla="*/ 56 h 64"/>
                <a:gd name="T20" fmla="*/ 56 w 64"/>
                <a:gd name="T21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64">
                  <a:moveTo>
                    <a:pt x="56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56" y="56"/>
                    <a:pt x="56" y="56"/>
                    <a:pt x="56" y="56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0"/>
                    <a:pt x="64" y="3"/>
                    <a:pt x="64" y="8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64" y="60"/>
                    <a:pt x="60" y="64"/>
                    <a:pt x="5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8" name="Rectangle 305"/>
            <p:cNvSpPr>
              <a:spLocks noChangeArrowheads="1"/>
            </p:cNvSpPr>
            <p:nvPr/>
          </p:nvSpPr>
          <p:spPr bwMode="auto">
            <a:xfrm>
              <a:off x="3532188" y="2381251"/>
              <a:ext cx="396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09" name="Freeform 306"/>
            <p:cNvSpPr>
              <a:spLocks/>
            </p:cNvSpPr>
            <p:nvPr/>
          </p:nvSpPr>
          <p:spPr bwMode="auto">
            <a:xfrm>
              <a:off x="3563938" y="2225676"/>
              <a:ext cx="139700" cy="217488"/>
            </a:xfrm>
            <a:custGeom>
              <a:avLst/>
              <a:gdLst>
                <a:gd name="T0" fmla="*/ 44 w 72"/>
                <a:gd name="T1" fmla="*/ 112 h 112"/>
                <a:gd name="T2" fmla="*/ 32 w 72"/>
                <a:gd name="T3" fmla="*/ 103 h 112"/>
                <a:gd name="T4" fmla="*/ 28 w 72"/>
                <a:gd name="T5" fmla="*/ 104 h 112"/>
                <a:gd name="T6" fmla="*/ 16 w 72"/>
                <a:gd name="T7" fmla="*/ 95 h 112"/>
                <a:gd name="T8" fmla="*/ 12 w 72"/>
                <a:gd name="T9" fmla="*/ 96 h 112"/>
                <a:gd name="T10" fmla="*/ 0 w 72"/>
                <a:gd name="T11" fmla="*/ 84 h 112"/>
                <a:gd name="T12" fmla="*/ 0 w 72"/>
                <a:gd name="T13" fmla="*/ 47 h 112"/>
                <a:gd name="T14" fmla="*/ 12 w 72"/>
                <a:gd name="T15" fmla="*/ 7 h 112"/>
                <a:gd name="T16" fmla="*/ 12 w 72"/>
                <a:gd name="T17" fmla="*/ 0 h 112"/>
                <a:gd name="T18" fmla="*/ 20 w 72"/>
                <a:gd name="T19" fmla="*/ 0 h 112"/>
                <a:gd name="T20" fmla="*/ 20 w 72"/>
                <a:gd name="T21" fmla="*/ 9 h 112"/>
                <a:gd name="T22" fmla="*/ 8 w 72"/>
                <a:gd name="T23" fmla="*/ 48 h 112"/>
                <a:gd name="T24" fmla="*/ 8 w 72"/>
                <a:gd name="T25" fmla="*/ 84 h 112"/>
                <a:gd name="T26" fmla="*/ 12 w 72"/>
                <a:gd name="T27" fmla="*/ 88 h 112"/>
                <a:gd name="T28" fmla="*/ 16 w 72"/>
                <a:gd name="T29" fmla="*/ 84 h 112"/>
                <a:gd name="T30" fmla="*/ 24 w 72"/>
                <a:gd name="T31" fmla="*/ 84 h 112"/>
                <a:gd name="T32" fmla="*/ 24 w 72"/>
                <a:gd name="T33" fmla="*/ 92 h 112"/>
                <a:gd name="T34" fmla="*/ 28 w 72"/>
                <a:gd name="T35" fmla="*/ 96 h 112"/>
                <a:gd name="T36" fmla="*/ 32 w 72"/>
                <a:gd name="T37" fmla="*/ 92 h 112"/>
                <a:gd name="T38" fmla="*/ 40 w 72"/>
                <a:gd name="T39" fmla="*/ 92 h 112"/>
                <a:gd name="T40" fmla="*/ 40 w 72"/>
                <a:gd name="T41" fmla="*/ 100 h 112"/>
                <a:gd name="T42" fmla="*/ 44 w 72"/>
                <a:gd name="T43" fmla="*/ 104 h 112"/>
                <a:gd name="T44" fmla="*/ 48 w 72"/>
                <a:gd name="T45" fmla="*/ 100 h 112"/>
                <a:gd name="T46" fmla="*/ 48 w 72"/>
                <a:gd name="T47" fmla="*/ 92 h 112"/>
                <a:gd name="T48" fmla="*/ 56 w 72"/>
                <a:gd name="T49" fmla="*/ 92 h 112"/>
                <a:gd name="T50" fmla="*/ 60 w 72"/>
                <a:gd name="T51" fmla="*/ 96 h 112"/>
                <a:gd name="T52" fmla="*/ 64 w 72"/>
                <a:gd name="T53" fmla="*/ 92 h 112"/>
                <a:gd name="T54" fmla="*/ 64 w 72"/>
                <a:gd name="T55" fmla="*/ 56 h 112"/>
                <a:gd name="T56" fmla="*/ 72 w 72"/>
                <a:gd name="T57" fmla="*/ 56 h 112"/>
                <a:gd name="T58" fmla="*/ 72 w 72"/>
                <a:gd name="T59" fmla="*/ 92 h 112"/>
                <a:gd name="T60" fmla="*/ 60 w 72"/>
                <a:gd name="T61" fmla="*/ 104 h 112"/>
                <a:gd name="T62" fmla="*/ 56 w 72"/>
                <a:gd name="T63" fmla="*/ 103 h 112"/>
                <a:gd name="T64" fmla="*/ 44 w 72"/>
                <a:gd name="T65" fmla="*/ 112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12">
                  <a:moveTo>
                    <a:pt x="44" y="112"/>
                  </a:moveTo>
                  <a:cubicBezTo>
                    <a:pt x="38" y="112"/>
                    <a:pt x="34" y="108"/>
                    <a:pt x="32" y="103"/>
                  </a:cubicBezTo>
                  <a:cubicBezTo>
                    <a:pt x="31" y="104"/>
                    <a:pt x="30" y="104"/>
                    <a:pt x="28" y="104"/>
                  </a:cubicBezTo>
                  <a:cubicBezTo>
                    <a:pt x="22" y="104"/>
                    <a:pt x="18" y="100"/>
                    <a:pt x="16" y="95"/>
                  </a:cubicBezTo>
                  <a:cubicBezTo>
                    <a:pt x="15" y="96"/>
                    <a:pt x="14" y="96"/>
                    <a:pt x="12" y="96"/>
                  </a:cubicBezTo>
                  <a:cubicBezTo>
                    <a:pt x="5" y="96"/>
                    <a:pt x="0" y="90"/>
                    <a:pt x="0" y="84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6"/>
                    <a:pt x="10" y="88"/>
                    <a:pt x="12" y="88"/>
                  </a:cubicBezTo>
                  <a:cubicBezTo>
                    <a:pt x="14" y="88"/>
                    <a:pt x="16" y="86"/>
                    <a:pt x="16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94"/>
                    <a:pt x="26" y="96"/>
                    <a:pt x="28" y="96"/>
                  </a:cubicBezTo>
                  <a:cubicBezTo>
                    <a:pt x="30" y="96"/>
                    <a:pt x="32" y="94"/>
                    <a:pt x="32" y="92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40" y="100"/>
                    <a:pt x="40" y="100"/>
                    <a:pt x="40" y="100"/>
                  </a:cubicBezTo>
                  <a:cubicBezTo>
                    <a:pt x="40" y="102"/>
                    <a:pt x="42" y="104"/>
                    <a:pt x="44" y="104"/>
                  </a:cubicBezTo>
                  <a:cubicBezTo>
                    <a:pt x="46" y="104"/>
                    <a:pt x="48" y="102"/>
                    <a:pt x="48" y="100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4"/>
                    <a:pt x="58" y="96"/>
                    <a:pt x="60" y="96"/>
                  </a:cubicBezTo>
                  <a:cubicBezTo>
                    <a:pt x="62" y="96"/>
                    <a:pt x="64" y="94"/>
                    <a:pt x="64" y="92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92"/>
                    <a:pt x="72" y="92"/>
                    <a:pt x="72" y="92"/>
                  </a:cubicBezTo>
                  <a:cubicBezTo>
                    <a:pt x="72" y="98"/>
                    <a:pt x="67" y="104"/>
                    <a:pt x="60" y="104"/>
                  </a:cubicBezTo>
                  <a:cubicBezTo>
                    <a:pt x="58" y="104"/>
                    <a:pt x="57" y="104"/>
                    <a:pt x="56" y="103"/>
                  </a:cubicBezTo>
                  <a:cubicBezTo>
                    <a:pt x="54" y="108"/>
                    <a:pt x="50" y="112"/>
                    <a:pt x="44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0" name="Rectangle 307"/>
            <p:cNvSpPr>
              <a:spLocks noChangeArrowheads="1"/>
            </p:cNvSpPr>
            <p:nvPr/>
          </p:nvSpPr>
          <p:spPr bwMode="auto">
            <a:xfrm>
              <a:off x="3656013" y="2357439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1" name="Rectangle 308"/>
            <p:cNvSpPr>
              <a:spLocks noChangeArrowheads="1"/>
            </p:cNvSpPr>
            <p:nvPr/>
          </p:nvSpPr>
          <p:spPr bwMode="auto">
            <a:xfrm>
              <a:off x="3625851" y="2357439"/>
              <a:ext cx="158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2" name="Rectangle 309"/>
            <p:cNvSpPr>
              <a:spLocks noChangeArrowheads="1"/>
            </p:cNvSpPr>
            <p:nvPr/>
          </p:nvSpPr>
          <p:spPr bwMode="auto">
            <a:xfrm>
              <a:off x="3594101" y="2357439"/>
              <a:ext cx="158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3" name="Freeform 310"/>
            <p:cNvSpPr>
              <a:spLocks/>
            </p:cNvSpPr>
            <p:nvPr/>
          </p:nvSpPr>
          <p:spPr bwMode="auto">
            <a:xfrm>
              <a:off x="3679826" y="2225676"/>
              <a:ext cx="53975" cy="147638"/>
            </a:xfrm>
            <a:custGeom>
              <a:avLst/>
              <a:gdLst>
                <a:gd name="T0" fmla="*/ 16 w 28"/>
                <a:gd name="T1" fmla="*/ 76 h 76"/>
                <a:gd name="T2" fmla="*/ 8 w 28"/>
                <a:gd name="T3" fmla="*/ 76 h 76"/>
                <a:gd name="T4" fmla="*/ 8 w 28"/>
                <a:gd name="T5" fmla="*/ 68 h 76"/>
                <a:gd name="T6" fmla="*/ 16 w 28"/>
                <a:gd name="T7" fmla="*/ 68 h 76"/>
                <a:gd name="T8" fmla="*/ 20 w 28"/>
                <a:gd name="T9" fmla="*/ 64 h 76"/>
                <a:gd name="T10" fmla="*/ 20 w 28"/>
                <a:gd name="T11" fmla="*/ 49 h 76"/>
                <a:gd name="T12" fmla="*/ 13 w 28"/>
                <a:gd name="T13" fmla="*/ 34 h 76"/>
                <a:gd name="T14" fmla="*/ 0 w 28"/>
                <a:gd name="T15" fmla="*/ 17 h 76"/>
                <a:gd name="T16" fmla="*/ 0 w 28"/>
                <a:gd name="T17" fmla="*/ 0 h 76"/>
                <a:gd name="T18" fmla="*/ 8 w 28"/>
                <a:gd name="T19" fmla="*/ 0 h 76"/>
                <a:gd name="T20" fmla="*/ 8 w 28"/>
                <a:gd name="T21" fmla="*/ 15 h 76"/>
                <a:gd name="T22" fmla="*/ 20 w 28"/>
                <a:gd name="T23" fmla="*/ 30 h 76"/>
                <a:gd name="T24" fmla="*/ 28 w 28"/>
                <a:gd name="T25" fmla="*/ 47 h 76"/>
                <a:gd name="T26" fmla="*/ 28 w 28"/>
                <a:gd name="T27" fmla="*/ 64 h 76"/>
                <a:gd name="T28" fmla="*/ 16 w 28"/>
                <a:gd name="T29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76">
                  <a:moveTo>
                    <a:pt x="16" y="76"/>
                  </a:moveTo>
                  <a:cubicBezTo>
                    <a:pt x="8" y="76"/>
                    <a:pt x="8" y="76"/>
                    <a:pt x="8" y="76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8" y="68"/>
                    <a:pt x="20" y="66"/>
                    <a:pt x="20" y="64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70"/>
                    <a:pt x="23" y="76"/>
                    <a:pt x="1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114" name="Rectangle 311"/>
            <p:cNvSpPr>
              <a:spLocks noChangeArrowheads="1"/>
            </p:cNvSpPr>
            <p:nvPr/>
          </p:nvSpPr>
          <p:spPr bwMode="auto">
            <a:xfrm>
              <a:off x="3586163" y="2217739"/>
              <a:ext cx="10953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5467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échenyi Likviditási hit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  <a:solidFill>
            <a:schemeClr val="accent4"/>
          </a:solidFill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3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278339" y="1960389"/>
            <a:ext cx="6314223" cy="375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Legfontosabb paraméterek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abad felhasználású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ámlák beadására nincs szükség</a:t>
            </a:r>
          </a:p>
          <a:p>
            <a:pPr marL="749160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Hitelkiváltásra teljes mértékben használható!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998" b="1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Egyéb </a:t>
            </a:r>
            <a:r>
              <a:rPr lang="hu-HU" sz="1998" b="1" dirty="0">
                <a:solidFill>
                  <a:srgbClr val="FFFFFF"/>
                </a:solidFill>
              </a:rPr>
              <a:t>paraméterek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Futamidő: fix 3 év 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Rendelkezésre </a:t>
            </a:r>
            <a:r>
              <a:rPr lang="hu-HU" sz="1665" dirty="0">
                <a:solidFill>
                  <a:srgbClr val="FFFFFF"/>
                </a:solidFill>
              </a:rPr>
              <a:t>tartási idő: </a:t>
            </a:r>
            <a:r>
              <a:rPr lang="hu-HU" sz="1665" dirty="0">
                <a:solidFill>
                  <a:srgbClr val="FFFFFF"/>
                </a:solidFill>
              </a:rPr>
              <a:t>1-8 </a:t>
            </a:r>
            <a:r>
              <a:rPr lang="hu-HU" sz="1665" dirty="0">
                <a:solidFill>
                  <a:srgbClr val="FFFFFF"/>
                </a:solidFill>
              </a:rPr>
              <a:t>hónap 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Türelmi idő: </a:t>
            </a:r>
            <a:r>
              <a:rPr lang="hu-HU" sz="1665" dirty="0">
                <a:solidFill>
                  <a:srgbClr val="FFFFFF"/>
                </a:solidFill>
              </a:rPr>
              <a:t>1-9 </a:t>
            </a:r>
            <a:r>
              <a:rPr lang="hu-HU" sz="1665" dirty="0">
                <a:solidFill>
                  <a:srgbClr val="FFFFFF"/>
                </a:solidFill>
              </a:rPr>
              <a:t>hónap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Tőketörlesztés: </a:t>
            </a:r>
            <a:r>
              <a:rPr lang="hu-HU" sz="1665" dirty="0">
                <a:solidFill>
                  <a:srgbClr val="FFFFFF"/>
                </a:solidFill>
              </a:rPr>
              <a:t>lineáris egyenlő részletekben</a:t>
            </a:r>
            <a:endParaRPr lang="hu-HU" sz="1665" dirty="0">
              <a:solidFill>
                <a:srgbClr val="FFFFFF"/>
              </a:solidFill>
            </a:endParaRP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Működési múlt: 1 teljes lezárt ügyleti évre van szükség</a:t>
            </a:r>
          </a:p>
          <a:p>
            <a:pPr marL="749160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665" dirty="0">
                <a:solidFill>
                  <a:srgbClr val="FFFFFF"/>
                </a:solidFill>
              </a:rPr>
              <a:t>Számlaforgalom: 1x-es számlaforgalom 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332" dirty="0">
              <a:solidFill>
                <a:srgbClr val="000000"/>
              </a:solidFill>
              <a:latin typeface="Calibri" panose="020F0502020204030204"/>
              <a:cs typeface="+mn-cs"/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498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6" name="Kép helye 5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1" r="12491"/>
          <a:stretch>
            <a:fillRect/>
          </a:stretch>
        </p:blipFill>
        <p:spPr>
          <a:xfrm>
            <a:off x="346278" y="1571686"/>
            <a:ext cx="2724216" cy="4668322"/>
          </a:xfrm>
        </p:spPr>
      </p:pic>
      <p:grpSp>
        <p:nvGrpSpPr>
          <p:cNvPr id="35" name="Группа 741"/>
          <p:cNvGrpSpPr/>
          <p:nvPr/>
        </p:nvGrpSpPr>
        <p:grpSpPr>
          <a:xfrm>
            <a:off x="8813542" y="1917761"/>
            <a:ext cx="387191" cy="413620"/>
            <a:chOff x="7359650" y="1946276"/>
            <a:chExt cx="465138" cy="496888"/>
          </a:xfrm>
          <a:solidFill>
            <a:schemeClr val="bg1"/>
          </a:solidFill>
        </p:grpSpPr>
        <p:sp>
          <p:nvSpPr>
            <p:cNvPr id="37" name="Freeform 553"/>
            <p:cNvSpPr>
              <a:spLocks/>
            </p:cNvSpPr>
            <p:nvPr/>
          </p:nvSpPr>
          <p:spPr bwMode="auto">
            <a:xfrm>
              <a:off x="7499350" y="2163764"/>
              <a:ext cx="61913" cy="109538"/>
            </a:xfrm>
            <a:custGeom>
              <a:avLst/>
              <a:gdLst>
                <a:gd name="T0" fmla="*/ 16 w 32"/>
                <a:gd name="T1" fmla="*/ 56 h 56"/>
                <a:gd name="T2" fmla="*/ 0 w 32"/>
                <a:gd name="T3" fmla="*/ 40 h 56"/>
                <a:gd name="T4" fmla="*/ 8 w 32"/>
                <a:gd name="T5" fmla="*/ 40 h 56"/>
                <a:gd name="T6" fmla="*/ 16 w 32"/>
                <a:gd name="T7" fmla="*/ 48 h 56"/>
                <a:gd name="T8" fmla="*/ 24 w 32"/>
                <a:gd name="T9" fmla="*/ 40 h 56"/>
                <a:gd name="T10" fmla="*/ 14 w 32"/>
                <a:gd name="T11" fmla="*/ 31 h 56"/>
                <a:gd name="T12" fmla="*/ 0 w 32"/>
                <a:gd name="T13" fmla="*/ 16 h 56"/>
                <a:gd name="T14" fmla="*/ 16 w 32"/>
                <a:gd name="T15" fmla="*/ 0 h 56"/>
                <a:gd name="T16" fmla="*/ 32 w 32"/>
                <a:gd name="T17" fmla="*/ 16 h 56"/>
                <a:gd name="T18" fmla="*/ 24 w 32"/>
                <a:gd name="T19" fmla="*/ 16 h 56"/>
                <a:gd name="T20" fmla="*/ 16 w 32"/>
                <a:gd name="T21" fmla="*/ 8 h 56"/>
                <a:gd name="T22" fmla="*/ 8 w 32"/>
                <a:gd name="T23" fmla="*/ 16 h 56"/>
                <a:gd name="T24" fmla="*/ 17 w 32"/>
                <a:gd name="T25" fmla="*/ 24 h 56"/>
                <a:gd name="T26" fmla="*/ 32 w 32"/>
                <a:gd name="T27" fmla="*/ 40 h 56"/>
                <a:gd name="T28" fmla="*/ 16 w 32"/>
                <a:gd name="T2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56">
                  <a:moveTo>
                    <a:pt x="16" y="56"/>
                  </a:moveTo>
                  <a:cubicBezTo>
                    <a:pt x="7" y="56"/>
                    <a:pt x="0" y="49"/>
                    <a:pt x="0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4"/>
                    <a:pt x="11" y="48"/>
                    <a:pt x="16" y="48"/>
                  </a:cubicBezTo>
                  <a:cubicBezTo>
                    <a:pt x="20" y="48"/>
                    <a:pt x="24" y="44"/>
                    <a:pt x="24" y="40"/>
                  </a:cubicBezTo>
                  <a:cubicBezTo>
                    <a:pt x="24" y="37"/>
                    <a:pt x="18" y="33"/>
                    <a:pt x="14" y="31"/>
                  </a:cubicBezTo>
                  <a:cubicBezTo>
                    <a:pt x="12" y="30"/>
                    <a:pt x="0" y="25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1"/>
                    <a:pt x="20" y="8"/>
                    <a:pt x="16" y="8"/>
                  </a:cubicBezTo>
                  <a:cubicBezTo>
                    <a:pt x="11" y="8"/>
                    <a:pt x="8" y="11"/>
                    <a:pt x="8" y="16"/>
                  </a:cubicBezTo>
                  <a:cubicBezTo>
                    <a:pt x="8" y="18"/>
                    <a:pt x="13" y="22"/>
                    <a:pt x="17" y="24"/>
                  </a:cubicBezTo>
                  <a:cubicBezTo>
                    <a:pt x="20" y="25"/>
                    <a:pt x="32" y="31"/>
                    <a:pt x="32" y="40"/>
                  </a:cubicBezTo>
                  <a:cubicBezTo>
                    <a:pt x="32" y="49"/>
                    <a:pt x="25" y="56"/>
                    <a:pt x="1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4" name="Rectangle 554"/>
            <p:cNvSpPr>
              <a:spLocks noChangeArrowheads="1"/>
            </p:cNvSpPr>
            <p:nvPr/>
          </p:nvSpPr>
          <p:spPr bwMode="auto">
            <a:xfrm>
              <a:off x="7523163" y="2147889"/>
              <a:ext cx="14288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5" name="Rectangle 555"/>
            <p:cNvSpPr>
              <a:spLocks noChangeArrowheads="1"/>
            </p:cNvSpPr>
            <p:nvPr/>
          </p:nvSpPr>
          <p:spPr bwMode="auto">
            <a:xfrm>
              <a:off x="7523163" y="2265364"/>
              <a:ext cx="14288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6" name="Rectangle 556"/>
            <p:cNvSpPr>
              <a:spLocks noChangeArrowheads="1"/>
            </p:cNvSpPr>
            <p:nvPr/>
          </p:nvSpPr>
          <p:spPr bwMode="auto">
            <a:xfrm>
              <a:off x="7577138" y="2211389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7" name="Rectangle 557"/>
            <p:cNvSpPr>
              <a:spLocks noChangeArrowheads="1"/>
            </p:cNvSpPr>
            <p:nvPr/>
          </p:nvSpPr>
          <p:spPr bwMode="auto">
            <a:xfrm>
              <a:off x="7467600" y="2211389"/>
              <a:ext cx="1587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8" name="Freeform 558"/>
            <p:cNvSpPr>
              <a:spLocks/>
            </p:cNvSpPr>
            <p:nvPr/>
          </p:nvSpPr>
          <p:spPr bwMode="auto">
            <a:xfrm>
              <a:off x="7359650" y="2057401"/>
              <a:ext cx="201613" cy="385763"/>
            </a:xfrm>
            <a:custGeom>
              <a:avLst/>
              <a:gdLst>
                <a:gd name="T0" fmla="*/ 104 w 104"/>
                <a:gd name="T1" fmla="*/ 199 h 199"/>
                <a:gd name="T2" fmla="*/ 28 w 104"/>
                <a:gd name="T3" fmla="*/ 199 h 199"/>
                <a:gd name="T4" fmla="*/ 0 w 104"/>
                <a:gd name="T5" fmla="*/ 171 h 199"/>
                <a:gd name="T6" fmla="*/ 0 w 104"/>
                <a:gd name="T7" fmla="*/ 107 h 199"/>
                <a:gd name="T8" fmla="*/ 51 w 104"/>
                <a:gd name="T9" fmla="*/ 9 h 199"/>
                <a:gd name="T10" fmla="*/ 65 w 104"/>
                <a:gd name="T11" fmla="*/ 0 h 199"/>
                <a:gd name="T12" fmla="*/ 71 w 104"/>
                <a:gd name="T13" fmla="*/ 6 h 199"/>
                <a:gd name="T14" fmla="*/ 55 w 104"/>
                <a:gd name="T15" fmla="*/ 16 h 199"/>
                <a:gd name="T16" fmla="*/ 8 w 104"/>
                <a:gd name="T17" fmla="*/ 107 h 199"/>
                <a:gd name="T18" fmla="*/ 8 w 104"/>
                <a:gd name="T19" fmla="*/ 171 h 199"/>
                <a:gd name="T20" fmla="*/ 28 w 104"/>
                <a:gd name="T21" fmla="*/ 191 h 199"/>
                <a:gd name="T22" fmla="*/ 104 w 104"/>
                <a:gd name="T23" fmla="*/ 191 h 199"/>
                <a:gd name="T24" fmla="*/ 104 w 104"/>
                <a:gd name="T25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99">
                  <a:moveTo>
                    <a:pt x="104" y="199"/>
                  </a:moveTo>
                  <a:cubicBezTo>
                    <a:pt x="28" y="199"/>
                    <a:pt x="28" y="199"/>
                    <a:pt x="28" y="199"/>
                  </a:cubicBezTo>
                  <a:cubicBezTo>
                    <a:pt x="12" y="199"/>
                    <a:pt x="0" y="186"/>
                    <a:pt x="0" y="17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0" y="36"/>
                    <a:pt x="31" y="20"/>
                    <a:pt x="51" y="9"/>
                  </a:cubicBezTo>
                  <a:cubicBezTo>
                    <a:pt x="57" y="6"/>
                    <a:pt x="62" y="3"/>
                    <a:pt x="65" y="0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67" y="10"/>
                    <a:pt x="61" y="13"/>
                    <a:pt x="55" y="16"/>
                  </a:cubicBezTo>
                  <a:cubicBezTo>
                    <a:pt x="35" y="27"/>
                    <a:pt x="8" y="41"/>
                    <a:pt x="8" y="107"/>
                  </a:cubicBezTo>
                  <a:cubicBezTo>
                    <a:pt x="8" y="171"/>
                    <a:pt x="8" y="171"/>
                    <a:pt x="8" y="171"/>
                  </a:cubicBezTo>
                  <a:cubicBezTo>
                    <a:pt x="8" y="182"/>
                    <a:pt x="17" y="191"/>
                    <a:pt x="28" y="191"/>
                  </a:cubicBezTo>
                  <a:cubicBezTo>
                    <a:pt x="104" y="191"/>
                    <a:pt x="104" y="191"/>
                    <a:pt x="104" y="191"/>
                  </a:cubicBezTo>
                  <a:lnTo>
                    <a:pt x="104" y="1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9" name="Freeform 559"/>
            <p:cNvSpPr>
              <a:spLocks/>
            </p:cNvSpPr>
            <p:nvPr/>
          </p:nvSpPr>
          <p:spPr bwMode="auto">
            <a:xfrm>
              <a:off x="7562850" y="2057401"/>
              <a:ext cx="138113" cy="200025"/>
            </a:xfrm>
            <a:custGeom>
              <a:avLst/>
              <a:gdLst>
                <a:gd name="T0" fmla="*/ 71 w 71"/>
                <a:gd name="T1" fmla="*/ 103 h 103"/>
                <a:gd name="T2" fmla="*/ 63 w 71"/>
                <a:gd name="T3" fmla="*/ 103 h 103"/>
                <a:gd name="T4" fmla="*/ 17 w 71"/>
                <a:gd name="T5" fmla="*/ 16 h 103"/>
                <a:gd name="T6" fmla="*/ 0 w 71"/>
                <a:gd name="T7" fmla="*/ 6 h 103"/>
                <a:gd name="T8" fmla="*/ 6 w 71"/>
                <a:gd name="T9" fmla="*/ 0 h 103"/>
                <a:gd name="T10" fmla="*/ 20 w 71"/>
                <a:gd name="T11" fmla="*/ 9 h 103"/>
                <a:gd name="T12" fmla="*/ 71 w 71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1" h="103">
                  <a:moveTo>
                    <a:pt x="71" y="103"/>
                  </a:moveTo>
                  <a:cubicBezTo>
                    <a:pt x="63" y="103"/>
                    <a:pt x="63" y="103"/>
                    <a:pt x="63" y="103"/>
                  </a:cubicBezTo>
                  <a:cubicBezTo>
                    <a:pt x="63" y="38"/>
                    <a:pt x="36" y="25"/>
                    <a:pt x="17" y="16"/>
                  </a:cubicBezTo>
                  <a:cubicBezTo>
                    <a:pt x="10" y="13"/>
                    <a:pt x="4" y="10"/>
                    <a:pt x="0" y="6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9" y="3"/>
                    <a:pt x="14" y="6"/>
                    <a:pt x="20" y="9"/>
                  </a:cubicBezTo>
                  <a:cubicBezTo>
                    <a:pt x="40" y="18"/>
                    <a:pt x="71" y="33"/>
                    <a:pt x="71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0" name="Freeform 560"/>
            <p:cNvSpPr>
              <a:spLocks noEditPoints="1"/>
            </p:cNvSpPr>
            <p:nvPr/>
          </p:nvSpPr>
          <p:spPr bwMode="auto">
            <a:xfrm>
              <a:off x="7475538" y="2024064"/>
              <a:ext cx="109538" cy="47625"/>
            </a:xfrm>
            <a:custGeom>
              <a:avLst/>
              <a:gdLst>
                <a:gd name="T0" fmla="*/ 48 w 56"/>
                <a:gd name="T1" fmla="*/ 24 h 24"/>
                <a:gd name="T2" fmla="*/ 8 w 56"/>
                <a:gd name="T3" fmla="*/ 24 h 24"/>
                <a:gd name="T4" fmla="*/ 0 w 56"/>
                <a:gd name="T5" fmla="*/ 16 h 24"/>
                <a:gd name="T6" fmla="*/ 0 w 56"/>
                <a:gd name="T7" fmla="*/ 8 h 24"/>
                <a:gd name="T8" fmla="*/ 8 w 56"/>
                <a:gd name="T9" fmla="*/ 0 h 24"/>
                <a:gd name="T10" fmla="*/ 48 w 56"/>
                <a:gd name="T11" fmla="*/ 0 h 24"/>
                <a:gd name="T12" fmla="*/ 56 w 56"/>
                <a:gd name="T13" fmla="*/ 8 h 24"/>
                <a:gd name="T14" fmla="*/ 56 w 56"/>
                <a:gd name="T15" fmla="*/ 16 h 24"/>
                <a:gd name="T16" fmla="*/ 48 w 56"/>
                <a:gd name="T17" fmla="*/ 24 h 24"/>
                <a:gd name="T18" fmla="*/ 8 w 56"/>
                <a:gd name="T19" fmla="*/ 8 h 24"/>
                <a:gd name="T20" fmla="*/ 8 w 56"/>
                <a:gd name="T21" fmla="*/ 16 h 24"/>
                <a:gd name="T22" fmla="*/ 48 w 56"/>
                <a:gd name="T23" fmla="*/ 16 h 24"/>
                <a:gd name="T24" fmla="*/ 48 w 56"/>
                <a:gd name="T25" fmla="*/ 8 h 24"/>
                <a:gd name="T26" fmla="*/ 8 w 56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24">
                  <a:moveTo>
                    <a:pt x="48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6" y="3"/>
                    <a:pt x="56" y="8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20"/>
                    <a:pt x="52" y="24"/>
                    <a:pt x="48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8"/>
                    <a:pt x="48" y="8"/>
                    <a:pt x="48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1" name="Freeform 561"/>
            <p:cNvSpPr>
              <a:spLocks noEditPoints="1"/>
            </p:cNvSpPr>
            <p:nvPr/>
          </p:nvSpPr>
          <p:spPr bwMode="auto">
            <a:xfrm>
              <a:off x="7458075" y="1946276"/>
              <a:ext cx="141288" cy="93663"/>
            </a:xfrm>
            <a:custGeom>
              <a:avLst/>
              <a:gdLst>
                <a:gd name="T0" fmla="*/ 53 w 73"/>
                <a:gd name="T1" fmla="*/ 48 h 48"/>
                <a:gd name="T2" fmla="*/ 21 w 73"/>
                <a:gd name="T3" fmla="*/ 48 h 48"/>
                <a:gd name="T4" fmla="*/ 17 w 73"/>
                <a:gd name="T5" fmla="*/ 46 h 48"/>
                <a:gd name="T6" fmla="*/ 1 w 73"/>
                <a:gd name="T7" fmla="*/ 14 h 48"/>
                <a:gd name="T8" fmla="*/ 3 w 73"/>
                <a:gd name="T9" fmla="*/ 8 h 48"/>
                <a:gd name="T10" fmla="*/ 19 w 73"/>
                <a:gd name="T11" fmla="*/ 0 h 48"/>
                <a:gd name="T12" fmla="*/ 23 w 73"/>
                <a:gd name="T13" fmla="*/ 0 h 48"/>
                <a:gd name="T14" fmla="*/ 37 w 73"/>
                <a:gd name="T15" fmla="*/ 7 h 48"/>
                <a:gd name="T16" fmla="*/ 51 w 73"/>
                <a:gd name="T17" fmla="*/ 0 h 48"/>
                <a:gd name="T18" fmla="*/ 55 w 73"/>
                <a:gd name="T19" fmla="*/ 0 h 48"/>
                <a:gd name="T20" fmla="*/ 71 w 73"/>
                <a:gd name="T21" fmla="*/ 8 h 48"/>
                <a:gd name="T22" fmla="*/ 72 w 73"/>
                <a:gd name="T23" fmla="*/ 14 h 48"/>
                <a:gd name="T24" fmla="*/ 56 w 73"/>
                <a:gd name="T25" fmla="*/ 46 h 48"/>
                <a:gd name="T26" fmla="*/ 53 w 73"/>
                <a:gd name="T27" fmla="*/ 48 h 48"/>
                <a:gd name="T28" fmla="*/ 23 w 73"/>
                <a:gd name="T29" fmla="*/ 40 h 48"/>
                <a:gd name="T30" fmla="*/ 50 w 73"/>
                <a:gd name="T31" fmla="*/ 40 h 48"/>
                <a:gd name="T32" fmla="*/ 63 w 73"/>
                <a:gd name="T33" fmla="*/ 14 h 48"/>
                <a:gd name="T34" fmla="*/ 53 w 73"/>
                <a:gd name="T35" fmla="*/ 8 h 48"/>
                <a:gd name="T36" fmla="*/ 39 w 73"/>
                <a:gd name="T37" fmla="*/ 15 h 48"/>
                <a:gd name="T38" fmla="*/ 35 w 73"/>
                <a:gd name="T39" fmla="*/ 15 h 48"/>
                <a:gd name="T40" fmla="*/ 21 w 73"/>
                <a:gd name="T41" fmla="*/ 8 h 48"/>
                <a:gd name="T42" fmla="*/ 10 w 73"/>
                <a:gd name="T43" fmla="*/ 14 h 48"/>
                <a:gd name="T44" fmla="*/ 23 w 73"/>
                <a:gd name="T45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3" h="48">
                  <a:moveTo>
                    <a:pt x="53" y="48"/>
                  </a:moveTo>
                  <a:cubicBezTo>
                    <a:pt x="21" y="48"/>
                    <a:pt x="21" y="48"/>
                    <a:pt x="21" y="48"/>
                  </a:cubicBezTo>
                  <a:cubicBezTo>
                    <a:pt x="19" y="48"/>
                    <a:pt x="18" y="47"/>
                    <a:pt x="17" y="46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1" y="9"/>
                    <a:pt x="3" y="8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1" y="0"/>
                    <a:pt x="23" y="0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2" y="0"/>
                    <a:pt x="53" y="0"/>
                    <a:pt x="55" y="0"/>
                  </a:cubicBezTo>
                  <a:cubicBezTo>
                    <a:pt x="71" y="8"/>
                    <a:pt x="71" y="8"/>
                    <a:pt x="71" y="8"/>
                  </a:cubicBezTo>
                  <a:cubicBezTo>
                    <a:pt x="73" y="9"/>
                    <a:pt x="73" y="12"/>
                    <a:pt x="72" y="14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6" y="47"/>
                    <a:pt x="54" y="48"/>
                    <a:pt x="53" y="48"/>
                  </a:cubicBezTo>
                  <a:close/>
                  <a:moveTo>
                    <a:pt x="23" y="40"/>
                  </a:moveTo>
                  <a:cubicBezTo>
                    <a:pt x="50" y="40"/>
                    <a:pt x="50" y="40"/>
                    <a:pt x="50" y="40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7" y="16"/>
                    <a:pt x="36" y="16"/>
                    <a:pt x="35" y="15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10" y="14"/>
                    <a:pt x="10" y="14"/>
                    <a:pt x="10" y="14"/>
                  </a:cubicBezTo>
                  <a:lnTo>
                    <a:pt x="23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2" name="Freeform 562"/>
            <p:cNvSpPr>
              <a:spLocks/>
            </p:cNvSpPr>
            <p:nvPr/>
          </p:nvSpPr>
          <p:spPr bwMode="auto">
            <a:xfrm>
              <a:off x="7577138" y="2016126"/>
              <a:ext cx="38100" cy="39688"/>
            </a:xfrm>
            <a:custGeom>
              <a:avLst/>
              <a:gdLst>
                <a:gd name="T0" fmla="*/ 0 w 20"/>
                <a:gd name="T1" fmla="*/ 20 h 20"/>
                <a:gd name="T2" fmla="*/ 0 w 20"/>
                <a:gd name="T3" fmla="*/ 12 h 20"/>
                <a:gd name="T4" fmla="*/ 12 w 20"/>
                <a:gd name="T5" fmla="*/ 0 h 20"/>
                <a:gd name="T6" fmla="*/ 20 w 20"/>
                <a:gd name="T7" fmla="*/ 0 h 20"/>
                <a:gd name="T8" fmla="*/ 0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2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6" y="12"/>
                    <a:pt x="12" y="6"/>
                    <a:pt x="1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1"/>
                    <a:pt x="11" y="20"/>
                    <a:pt x="0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3" name="Freeform 563"/>
            <p:cNvSpPr>
              <a:spLocks/>
            </p:cNvSpPr>
            <p:nvPr/>
          </p:nvSpPr>
          <p:spPr bwMode="auto">
            <a:xfrm>
              <a:off x="7445375" y="2016126"/>
              <a:ext cx="38100" cy="39688"/>
            </a:xfrm>
            <a:custGeom>
              <a:avLst/>
              <a:gdLst>
                <a:gd name="T0" fmla="*/ 20 w 20"/>
                <a:gd name="T1" fmla="*/ 20 h 20"/>
                <a:gd name="T2" fmla="*/ 0 w 20"/>
                <a:gd name="T3" fmla="*/ 0 h 20"/>
                <a:gd name="T4" fmla="*/ 8 w 20"/>
                <a:gd name="T5" fmla="*/ 0 h 20"/>
                <a:gd name="T6" fmla="*/ 20 w 20"/>
                <a:gd name="T7" fmla="*/ 12 h 20"/>
                <a:gd name="T8" fmla="*/ 20 w 20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0" y="20"/>
                  </a:moveTo>
                  <a:cubicBezTo>
                    <a:pt x="9" y="20"/>
                    <a:pt x="0" y="11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6"/>
                    <a:pt x="13" y="12"/>
                    <a:pt x="20" y="12"/>
                  </a:cubicBez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4" name="Freeform 564"/>
            <p:cNvSpPr>
              <a:spLocks noEditPoints="1"/>
            </p:cNvSpPr>
            <p:nvPr/>
          </p:nvSpPr>
          <p:spPr bwMode="auto">
            <a:xfrm>
              <a:off x="7429500" y="2117726"/>
              <a:ext cx="201613" cy="201613"/>
            </a:xfrm>
            <a:custGeom>
              <a:avLst/>
              <a:gdLst>
                <a:gd name="T0" fmla="*/ 52 w 104"/>
                <a:gd name="T1" fmla="*/ 104 h 104"/>
                <a:gd name="T2" fmla="*/ 0 w 104"/>
                <a:gd name="T3" fmla="*/ 52 h 104"/>
                <a:gd name="T4" fmla="*/ 52 w 104"/>
                <a:gd name="T5" fmla="*/ 0 h 104"/>
                <a:gd name="T6" fmla="*/ 104 w 104"/>
                <a:gd name="T7" fmla="*/ 52 h 104"/>
                <a:gd name="T8" fmla="*/ 52 w 104"/>
                <a:gd name="T9" fmla="*/ 104 h 104"/>
                <a:gd name="T10" fmla="*/ 52 w 104"/>
                <a:gd name="T11" fmla="*/ 8 h 104"/>
                <a:gd name="T12" fmla="*/ 8 w 104"/>
                <a:gd name="T13" fmla="*/ 52 h 104"/>
                <a:gd name="T14" fmla="*/ 52 w 104"/>
                <a:gd name="T15" fmla="*/ 96 h 104"/>
                <a:gd name="T16" fmla="*/ 96 w 104"/>
                <a:gd name="T17" fmla="*/ 52 h 104"/>
                <a:gd name="T18" fmla="*/ 52 w 104"/>
                <a:gd name="T19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04">
                  <a:moveTo>
                    <a:pt x="52" y="104"/>
                  </a:moveTo>
                  <a:cubicBezTo>
                    <a:pt x="23" y="104"/>
                    <a:pt x="0" y="81"/>
                    <a:pt x="0" y="52"/>
                  </a:cubicBezTo>
                  <a:cubicBezTo>
                    <a:pt x="0" y="23"/>
                    <a:pt x="23" y="0"/>
                    <a:pt x="52" y="0"/>
                  </a:cubicBezTo>
                  <a:cubicBezTo>
                    <a:pt x="80" y="0"/>
                    <a:pt x="104" y="23"/>
                    <a:pt x="104" y="52"/>
                  </a:cubicBezTo>
                  <a:cubicBezTo>
                    <a:pt x="104" y="81"/>
                    <a:pt x="80" y="104"/>
                    <a:pt x="52" y="104"/>
                  </a:cubicBezTo>
                  <a:close/>
                  <a:moveTo>
                    <a:pt x="52" y="8"/>
                  </a:moveTo>
                  <a:cubicBezTo>
                    <a:pt x="28" y="8"/>
                    <a:pt x="8" y="28"/>
                    <a:pt x="8" y="52"/>
                  </a:cubicBezTo>
                  <a:cubicBezTo>
                    <a:pt x="8" y="76"/>
                    <a:pt x="28" y="96"/>
                    <a:pt x="52" y="96"/>
                  </a:cubicBezTo>
                  <a:cubicBezTo>
                    <a:pt x="76" y="96"/>
                    <a:pt x="96" y="76"/>
                    <a:pt x="96" y="52"/>
                  </a:cubicBezTo>
                  <a:cubicBezTo>
                    <a:pt x="96" y="28"/>
                    <a:pt x="76" y="8"/>
                    <a:pt x="5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5" name="Freeform 565"/>
            <p:cNvSpPr>
              <a:spLocks noEditPoints="1"/>
            </p:cNvSpPr>
            <p:nvPr/>
          </p:nvSpPr>
          <p:spPr bwMode="auto">
            <a:xfrm>
              <a:off x="7577138" y="2397126"/>
              <a:ext cx="92075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6" name="Freeform 566"/>
            <p:cNvSpPr>
              <a:spLocks noEditPoints="1"/>
            </p:cNvSpPr>
            <p:nvPr/>
          </p:nvSpPr>
          <p:spPr bwMode="auto">
            <a:xfrm>
              <a:off x="7577138" y="2365376"/>
              <a:ext cx="92075" cy="47625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7" name="Freeform 567"/>
            <p:cNvSpPr>
              <a:spLocks noEditPoints="1"/>
            </p:cNvSpPr>
            <p:nvPr/>
          </p:nvSpPr>
          <p:spPr bwMode="auto">
            <a:xfrm>
              <a:off x="7577138" y="2335214"/>
              <a:ext cx="92075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8" name="Freeform 568"/>
            <p:cNvSpPr>
              <a:spLocks noEditPoints="1"/>
            </p:cNvSpPr>
            <p:nvPr/>
          </p:nvSpPr>
          <p:spPr bwMode="auto">
            <a:xfrm>
              <a:off x="7654925" y="2397126"/>
              <a:ext cx="92075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69" name="Freeform 569"/>
            <p:cNvSpPr>
              <a:spLocks noEditPoints="1"/>
            </p:cNvSpPr>
            <p:nvPr/>
          </p:nvSpPr>
          <p:spPr bwMode="auto">
            <a:xfrm>
              <a:off x="7654925" y="2365376"/>
              <a:ext cx="92075" cy="47625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0" name="Freeform 570"/>
            <p:cNvSpPr>
              <a:spLocks noEditPoints="1"/>
            </p:cNvSpPr>
            <p:nvPr/>
          </p:nvSpPr>
          <p:spPr bwMode="auto">
            <a:xfrm>
              <a:off x="7654925" y="2335214"/>
              <a:ext cx="92075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1" name="Freeform 571"/>
            <p:cNvSpPr>
              <a:spLocks noEditPoints="1"/>
            </p:cNvSpPr>
            <p:nvPr/>
          </p:nvSpPr>
          <p:spPr bwMode="auto">
            <a:xfrm>
              <a:off x="7654925" y="2303464"/>
              <a:ext cx="92075" cy="47625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2" name="Freeform 572"/>
            <p:cNvSpPr>
              <a:spLocks noEditPoints="1"/>
            </p:cNvSpPr>
            <p:nvPr/>
          </p:nvSpPr>
          <p:spPr bwMode="auto">
            <a:xfrm>
              <a:off x="7654925" y="2273301"/>
              <a:ext cx="92075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3" name="Freeform 573"/>
            <p:cNvSpPr>
              <a:spLocks noEditPoints="1"/>
            </p:cNvSpPr>
            <p:nvPr/>
          </p:nvSpPr>
          <p:spPr bwMode="auto">
            <a:xfrm>
              <a:off x="7731125" y="2397126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4" name="Freeform 574"/>
            <p:cNvSpPr>
              <a:spLocks noEditPoints="1"/>
            </p:cNvSpPr>
            <p:nvPr/>
          </p:nvSpPr>
          <p:spPr bwMode="auto">
            <a:xfrm>
              <a:off x="7731125" y="2365376"/>
              <a:ext cx="93663" cy="47625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5" name="Freeform 575"/>
            <p:cNvSpPr>
              <a:spLocks noEditPoints="1"/>
            </p:cNvSpPr>
            <p:nvPr/>
          </p:nvSpPr>
          <p:spPr bwMode="auto">
            <a:xfrm>
              <a:off x="7731125" y="2335214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6" name="Freeform 576"/>
            <p:cNvSpPr>
              <a:spLocks noEditPoints="1"/>
            </p:cNvSpPr>
            <p:nvPr/>
          </p:nvSpPr>
          <p:spPr bwMode="auto">
            <a:xfrm>
              <a:off x="7731125" y="2303464"/>
              <a:ext cx="93663" cy="47625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7" name="Freeform 577"/>
            <p:cNvSpPr>
              <a:spLocks noEditPoints="1"/>
            </p:cNvSpPr>
            <p:nvPr/>
          </p:nvSpPr>
          <p:spPr bwMode="auto">
            <a:xfrm>
              <a:off x="7731125" y="2273301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8" name="Freeform 578"/>
            <p:cNvSpPr>
              <a:spLocks noEditPoints="1"/>
            </p:cNvSpPr>
            <p:nvPr/>
          </p:nvSpPr>
          <p:spPr bwMode="auto">
            <a:xfrm>
              <a:off x="7731125" y="2241551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79" name="Freeform 579"/>
            <p:cNvSpPr>
              <a:spLocks noEditPoints="1"/>
            </p:cNvSpPr>
            <p:nvPr/>
          </p:nvSpPr>
          <p:spPr bwMode="auto">
            <a:xfrm>
              <a:off x="7731125" y="2211389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0" name="Freeform 580"/>
            <p:cNvSpPr>
              <a:spLocks noEditPoints="1"/>
            </p:cNvSpPr>
            <p:nvPr/>
          </p:nvSpPr>
          <p:spPr bwMode="auto">
            <a:xfrm>
              <a:off x="7731125" y="2133601"/>
              <a:ext cx="93663" cy="46038"/>
            </a:xfrm>
            <a:custGeom>
              <a:avLst/>
              <a:gdLst>
                <a:gd name="T0" fmla="*/ 40 w 48"/>
                <a:gd name="T1" fmla="*/ 24 h 24"/>
                <a:gd name="T2" fmla="*/ 8 w 48"/>
                <a:gd name="T3" fmla="*/ 24 h 24"/>
                <a:gd name="T4" fmla="*/ 0 w 48"/>
                <a:gd name="T5" fmla="*/ 16 h 24"/>
                <a:gd name="T6" fmla="*/ 0 w 48"/>
                <a:gd name="T7" fmla="*/ 8 h 24"/>
                <a:gd name="T8" fmla="*/ 8 w 48"/>
                <a:gd name="T9" fmla="*/ 0 h 24"/>
                <a:gd name="T10" fmla="*/ 40 w 48"/>
                <a:gd name="T11" fmla="*/ 0 h 24"/>
                <a:gd name="T12" fmla="*/ 48 w 48"/>
                <a:gd name="T13" fmla="*/ 8 h 24"/>
                <a:gd name="T14" fmla="*/ 48 w 48"/>
                <a:gd name="T15" fmla="*/ 16 h 24"/>
                <a:gd name="T16" fmla="*/ 40 w 48"/>
                <a:gd name="T17" fmla="*/ 24 h 24"/>
                <a:gd name="T18" fmla="*/ 8 w 48"/>
                <a:gd name="T19" fmla="*/ 8 h 24"/>
                <a:gd name="T20" fmla="*/ 8 w 48"/>
                <a:gd name="T21" fmla="*/ 16 h 24"/>
                <a:gd name="T22" fmla="*/ 40 w 48"/>
                <a:gd name="T23" fmla="*/ 16 h 24"/>
                <a:gd name="T24" fmla="*/ 40 w 48"/>
                <a:gd name="T25" fmla="*/ 8 h 24"/>
                <a:gd name="T26" fmla="*/ 8 w 48"/>
                <a:gd name="T27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24">
                  <a:moveTo>
                    <a:pt x="40" y="24"/>
                  </a:moveTo>
                  <a:cubicBezTo>
                    <a:pt x="8" y="24"/>
                    <a:pt x="8" y="24"/>
                    <a:pt x="8" y="24"/>
                  </a:cubicBezTo>
                  <a:cubicBezTo>
                    <a:pt x="3" y="24"/>
                    <a:pt x="0" y="20"/>
                    <a:pt x="0" y="1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8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4" y="0"/>
                    <a:pt x="48" y="3"/>
                    <a:pt x="48" y="8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20"/>
                    <a:pt x="44" y="24"/>
                    <a:pt x="40" y="24"/>
                  </a:cubicBezTo>
                  <a:close/>
                  <a:moveTo>
                    <a:pt x="8" y="8"/>
                  </a:moveTo>
                  <a:cubicBezTo>
                    <a:pt x="8" y="16"/>
                    <a:pt x="8" y="16"/>
                    <a:pt x="8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8"/>
                    <a:pt x="40" y="8"/>
                    <a:pt x="40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1" name="Rectangle 581"/>
            <p:cNvSpPr>
              <a:spLocks noChangeArrowheads="1"/>
            </p:cNvSpPr>
            <p:nvPr/>
          </p:nvSpPr>
          <p:spPr bwMode="auto">
            <a:xfrm>
              <a:off x="7754938" y="2055814"/>
              <a:ext cx="15875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2" name="Rectangle 582"/>
            <p:cNvSpPr>
              <a:spLocks noChangeArrowheads="1"/>
            </p:cNvSpPr>
            <p:nvPr/>
          </p:nvSpPr>
          <p:spPr bwMode="auto">
            <a:xfrm>
              <a:off x="7786688" y="2008189"/>
              <a:ext cx="14288" cy="635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3" name="Rectangle 583"/>
            <p:cNvSpPr>
              <a:spLocks noChangeArrowheads="1"/>
            </p:cNvSpPr>
            <p:nvPr/>
          </p:nvSpPr>
          <p:spPr bwMode="auto">
            <a:xfrm>
              <a:off x="7754938" y="2024064"/>
              <a:ext cx="1587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84" name="Rectangle 584"/>
            <p:cNvSpPr>
              <a:spLocks noChangeArrowheads="1"/>
            </p:cNvSpPr>
            <p:nvPr/>
          </p:nvSpPr>
          <p:spPr bwMode="auto">
            <a:xfrm>
              <a:off x="7786688" y="2085976"/>
              <a:ext cx="14288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0340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échenyi Beruházási Plus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4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24" name="Kép helye 23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8" r="13128"/>
          <a:stretch>
            <a:fillRect/>
          </a:stretch>
        </p:blipFill>
        <p:spPr>
          <a:xfrm>
            <a:off x="219395" y="1571686"/>
            <a:ext cx="2833231" cy="4668322"/>
          </a:xfrm>
        </p:spPr>
      </p:pic>
      <p:grpSp>
        <p:nvGrpSpPr>
          <p:cNvPr id="31" name="Группа 778"/>
          <p:cNvGrpSpPr/>
          <p:nvPr/>
        </p:nvGrpSpPr>
        <p:grpSpPr>
          <a:xfrm>
            <a:off x="8820150" y="1968179"/>
            <a:ext cx="373976" cy="413620"/>
            <a:chOff x="4375150" y="3586164"/>
            <a:chExt cx="449263" cy="496888"/>
          </a:xfrm>
          <a:solidFill>
            <a:schemeClr val="bg1"/>
          </a:solidFill>
        </p:grpSpPr>
        <p:sp>
          <p:nvSpPr>
            <p:cNvPr id="32" name="Rectangle 136"/>
            <p:cNvSpPr>
              <a:spLocks noChangeArrowheads="1"/>
            </p:cNvSpPr>
            <p:nvPr/>
          </p:nvSpPr>
          <p:spPr bwMode="auto">
            <a:xfrm>
              <a:off x="4646613" y="3865564"/>
              <a:ext cx="158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Rectangle 137"/>
            <p:cNvSpPr>
              <a:spLocks noChangeArrowheads="1"/>
            </p:cNvSpPr>
            <p:nvPr/>
          </p:nvSpPr>
          <p:spPr bwMode="auto">
            <a:xfrm>
              <a:off x="4537075" y="3865564"/>
              <a:ext cx="158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38"/>
            <p:cNvSpPr>
              <a:spLocks/>
            </p:cNvSpPr>
            <p:nvPr/>
          </p:nvSpPr>
          <p:spPr bwMode="auto">
            <a:xfrm>
              <a:off x="4498975" y="3763964"/>
              <a:ext cx="201613" cy="125413"/>
            </a:xfrm>
            <a:custGeom>
              <a:avLst/>
              <a:gdLst>
                <a:gd name="T0" fmla="*/ 52 w 104"/>
                <a:gd name="T1" fmla="*/ 64 h 64"/>
                <a:gd name="T2" fmla="*/ 26 w 104"/>
                <a:gd name="T3" fmla="*/ 55 h 64"/>
                <a:gd name="T4" fmla="*/ 4 w 104"/>
                <a:gd name="T5" fmla="*/ 18 h 64"/>
                <a:gd name="T6" fmla="*/ 0 w 104"/>
                <a:gd name="T7" fmla="*/ 13 h 64"/>
                <a:gd name="T8" fmla="*/ 0 w 104"/>
                <a:gd name="T9" fmla="*/ 0 h 64"/>
                <a:gd name="T10" fmla="*/ 8 w 104"/>
                <a:gd name="T11" fmla="*/ 0 h 64"/>
                <a:gd name="T12" fmla="*/ 8 w 104"/>
                <a:gd name="T13" fmla="*/ 10 h 64"/>
                <a:gd name="T14" fmla="*/ 12 w 104"/>
                <a:gd name="T15" fmla="*/ 14 h 64"/>
                <a:gd name="T16" fmla="*/ 12 w 104"/>
                <a:gd name="T17" fmla="*/ 15 h 64"/>
                <a:gd name="T18" fmla="*/ 30 w 104"/>
                <a:gd name="T19" fmla="*/ 48 h 64"/>
                <a:gd name="T20" fmla="*/ 31 w 104"/>
                <a:gd name="T21" fmla="*/ 49 h 64"/>
                <a:gd name="T22" fmla="*/ 52 w 104"/>
                <a:gd name="T23" fmla="*/ 56 h 64"/>
                <a:gd name="T24" fmla="*/ 73 w 104"/>
                <a:gd name="T25" fmla="*/ 49 h 64"/>
                <a:gd name="T26" fmla="*/ 74 w 104"/>
                <a:gd name="T27" fmla="*/ 48 h 64"/>
                <a:gd name="T28" fmla="*/ 74 w 104"/>
                <a:gd name="T29" fmla="*/ 48 h 64"/>
                <a:gd name="T30" fmla="*/ 92 w 104"/>
                <a:gd name="T31" fmla="*/ 15 h 64"/>
                <a:gd name="T32" fmla="*/ 92 w 104"/>
                <a:gd name="T33" fmla="*/ 14 h 64"/>
                <a:gd name="T34" fmla="*/ 96 w 104"/>
                <a:gd name="T35" fmla="*/ 10 h 64"/>
                <a:gd name="T36" fmla="*/ 96 w 104"/>
                <a:gd name="T37" fmla="*/ 0 h 64"/>
                <a:gd name="T38" fmla="*/ 104 w 104"/>
                <a:gd name="T39" fmla="*/ 0 h 64"/>
                <a:gd name="T40" fmla="*/ 104 w 104"/>
                <a:gd name="T41" fmla="*/ 13 h 64"/>
                <a:gd name="T42" fmla="*/ 100 w 104"/>
                <a:gd name="T43" fmla="*/ 18 h 64"/>
                <a:gd name="T44" fmla="*/ 78 w 104"/>
                <a:gd name="T45" fmla="*/ 55 h 64"/>
                <a:gd name="T46" fmla="*/ 52 w 104"/>
                <a:gd name="T4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" h="64">
                  <a:moveTo>
                    <a:pt x="52" y="64"/>
                  </a:moveTo>
                  <a:cubicBezTo>
                    <a:pt x="44" y="64"/>
                    <a:pt x="31" y="60"/>
                    <a:pt x="26" y="55"/>
                  </a:cubicBezTo>
                  <a:cubicBezTo>
                    <a:pt x="22" y="53"/>
                    <a:pt x="8" y="44"/>
                    <a:pt x="4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6" y="40"/>
                    <a:pt x="29" y="48"/>
                    <a:pt x="30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4" y="52"/>
                    <a:pt x="45" y="56"/>
                    <a:pt x="52" y="56"/>
                  </a:cubicBezTo>
                  <a:cubicBezTo>
                    <a:pt x="59" y="56"/>
                    <a:pt x="70" y="52"/>
                    <a:pt x="73" y="49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88" y="40"/>
                    <a:pt x="92" y="15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6" y="44"/>
                    <a:pt x="82" y="53"/>
                    <a:pt x="78" y="55"/>
                  </a:cubicBezTo>
                  <a:cubicBezTo>
                    <a:pt x="73" y="60"/>
                    <a:pt x="60" y="64"/>
                    <a:pt x="5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39"/>
            <p:cNvSpPr>
              <a:spLocks/>
            </p:cNvSpPr>
            <p:nvPr/>
          </p:nvSpPr>
          <p:spPr bwMode="auto">
            <a:xfrm>
              <a:off x="4375150" y="3919539"/>
              <a:ext cx="449263" cy="163513"/>
            </a:xfrm>
            <a:custGeom>
              <a:avLst/>
              <a:gdLst>
                <a:gd name="T0" fmla="*/ 232 w 232"/>
                <a:gd name="T1" fmla="*/ 84 h 84"/>
                <a:gd name="T2" fmla="*/ 224 w 232"/>
                <a:gd name="T3" fmla="*/ 84 h 84"/>
                <a:gd name="T4" fmla="*/ 224 w 232"/>
                <a:gd name="T5" fmla="*/ 60 h 84"/>
                <a:gd name="T6" fmla="*/ 181 w 232"/>
                <a:gd name="T7" fmla="*/ 18 h 84"/>
                <a:gd name="T8" fmla="*/ 159 w 232"/>
                <a:gd name="T9" fmla="*/ 10 h 84"/>
                <a:gd name="T10" fmla="*/ 116 w 232"/>
                <a:gd name="T11" fmla="*/ 36 h 84"/>
                <a:gd name="T12" fmla="*/ 73 w 232"/>
                <a:gd name="T13" fmla="*/ 10 h 84"/>
                <a:gd name="T14" fmla="*/ 51 w 232"/>
                <a:gd name="T15" fmla="*/ 18 h 84"/>
                <a:gd name="T16" fmla="*/ 8 w 232"/>
                <a:gd name="T17" fmla="*/ 60 h 84"/>
                <a:gd name="T18" fmla="*/ 8 w 232"/>
                <a:gd name="T19" fmla="*/ 84 h 84"/>
                <a:gd name="T20" fmla="*/ 0 w 232"/>
                <a:gd name="T21" fmla="*/ 84 h 84"/>
                <a:gd name="T22" fmla="*/ 0 w 232"/>
                <a:gd name="T23" fmla="*/ 60 h 84"/>
                <a:gd name="T24" fmla="*/ 49 w 232"/>
                <a:gd name="T25" fmla="*/ 11 h 84"/>
                <a:gd name="T26" fmla="*/ 74 w 232"/>
                <a:gd name="T27" fmla="*/ 0 h 84"/>
                <a:gd name="T28" fmla="*/ 78 w 232"/>
                <a:gd name="T29" fmla="*/ 0 h 84"/>
                <a:gd name="T30" fmla="*/ 80 w 232"/>
                <a:gd name="T31" fmla="*/ 4 h 84"/>
                <a:gd name="T32" fmla="*/ 116 w 232"/>
                <a:gd name="T33" fmla="*/ 28 h 84"/>
                <a:gd name="T34" fmla="*/ 152 w 232"/>
                <a:gd name="T35" fmla="*/ 4 h 84"/>
                <a:gd name="T36" fmla="*/ 154 w 232"/>
                <a:gd name="T37" fmla="*/ 0 h 84"/>
                <a:gd name="T38" fmla="*/ 158 w 232"/>
                <a:gd name="T39" fmla="*/ 0 h 84"/>
                <a:gd name="T40" fmla="*/ 183 w 232"/>
                <a:gd name="T41" fmla="*/ 11 h 84"/>
                <a:gd name="T42" fmla="*/ 232 w 232"/>
                <a:gd name="T43" fmla="*/ 60 h 84"/>
                <a:gd name="T44" fmla="*/ 232 w 232"/>
                <a:gd name="T4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2" h="84">
                  <a:moveTo>
                    <a:pt x="232" y="84"/>
                  </a:moveTo>
                  <a:cubicBezTo>
                    <a:pt x="224" y="84"/>
                    <a:pt x="224" y="84"/>
                    <a:pt x="224" y="84"/>
                  </a:cubicBezTo>
                  <a:cubicBezTo>
                    <a:pt x="224" y="60"/>
                    <a:pt x="224" y="60"/>
                    <a:pt x="224" y="60"/>
                  </a:cubicBezTo>
                  <a:cubicBezTo>
                    <a:pt x="224" y="34"/>
                    <a:pt x="204" y="27"/>
                    <a:pt x="181" y="18"/>
                  </a:cubicBezTo>
                  <a:cubicBezTo>
                    <a:pt x="173" y="16"/>
                    <a:pt x="166" y="13"/>
                    <a:pt x="159" y="10"/>
                  </a:cubicBezTo>
                  <a:cubicBezTo>
                    <a:pt x="154" y="23"/>
                    <a:pt x="134" y="36"/>
                    <a:pt x="116" y="36"/>
                  </a:cubicBezTo>
                  <a:cubicBezTo>
                    <a:pt x="98" y="36"/>
                    <a:pt x="78" y="23"/>
                    <a:pt x="73" y="10"/>
                  </a:cubicBezTo>
                  <a:cubicBezTo>
                    <a:pt x="66" y="13"/>
                    <a:pt x="59" y="16"/>
                    <a:pt x="51" y="18"/>
                  </a:cubicBezTo>
                  <a:cubicBezTo>
                    <a:pt x="28" y="27"/>
                    <a:pt x="8" y="34"/>
                    <a:pt x="8" y="60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28"/>
                    <a:pt x="25" y="19"/>
                    <a:pt x="49" y="11"/>
                  </a:cubicBezTo>
                  <a:cubicBezTo>
                    <a:pt x="57" y="8"/>
                    <a:pt x="66" y="5"/>
                    <a:pt x="74" y="0"/>
                  </a:cubicBezTo>
                  <a:cubicBezTo>
                    <a:pt x="75" y="0"/>
                    <a:pt x="77" y="0"/>
                    <a:pt x="78" y="0"/>
                  </a:cubicBezTo>
                  <a:cubicBezTo>
                    <a:pt x="79" y="1"/>
                    <a:pt x="80" y="2"/>
                    <a:pt x="80" y="4"/>
                  </a:cubicBezTo>
                  <a:cubicBezTo>
                    <a:pt x="80" y="13"/>
                    <a:pt x="97" y="28"/>
                    <a:pt x="116" y="28"/>
                  </a:cubicBezTo>
                  <a:cubicBezTo>
                    <a:pt x="135" y="28"/>
                    <a:pt x="152" y="13"/>
                    <a:pt x="152" y="4"/>
                  </a:cubicBezTo>
                  <a:cubicBezTo>
                    <a:pt x="152" y="2"/>
                    <a:pt x="153" y="1"/>
                    <a:pt x="154" y="0"/>
                  </a:cubicBezTo>
                  <a:cubicBezTo>
                    <a:pt x="155" y="0"/>
                    <a:pt x="157" y="0"/>
                    <a:pt x="158" y="0"/>
                  </a:cubicBezTo>
                  <a:cubicBezTo>
                    <a:pt x="166" y="5"/>
                    <a:pt x="175" y="8"/>
                    <a:pt x="183" y="11"/>
                  </a:cubicBezTo>
                  <a:cubicBezTo>
                    <a:pt x="207" y="19"/>
                    <a:pt x="232" y="28"/>
                    <a:pt x="232" y="60"/>
                  </a:cubicBezTo>
                  <a:lnTo>
                    <a:pt x="23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40"/>
            <p:cNvSpPr>
              <a:spLocks/>
            </p:cNvSpPr>
            <p:nvPr/>
          </p:nvSpPr>
          <p:spPr bwMode="auto">
            <a:xfrm>
              <a:off x="4514850" y="3889376"/>
              <a:ext cx="169863" cy="53975"/>
            </a:xfrm>
            <a:custGeom>
              <a:avLst/>
              <a:gdLst>
                <a:gd name="T0" fmla="*/ 44 w 88"/>
                <a:gd name="T1" fmla="*/ 28 h 28"/>
                <a:gd name="T2" fmla="*/ 42 w 88"/>
                <a:gd name="T3" fmla="*/ 27 h 28"/>
                <a:gd name="T4" fmla="*/ 14 w 88"/>
                <a:gd name="T5" fmla="*/ 9 h 28"/>
                <a:gd name="T6" fmla="*/ 8 w 88"/>
                <a:gd name="T7" fmla="*/ 22 h 28"/>
                <a:gd name="T8" fmla="*/ 0 w 88"/>
                <a:gd name="T9" fmla="*/ 18 h 28"/>
                <a:gd name="T10" fmla="*/ 8 w 88"/>
                <a:gd name="T11" fmla="*/ 2 h 28"/>
                <a:gd name="T12" fmla="*/ 11 w 88"/>
                <a:gd name="T13" fmla="*/ 0 h 28"/>
                <a:gd name="T14" fmla="*/ 14 w 88"/>
                <a:gd name="T15" fmla="*/ 0 h 28"/>
                <a:gd name="T16" fmla="*/ 44 w 88"/>
                <a:gd name="T17" fmla="*/ 19 h 28"/>
                <a:gd name="T18" fmla="*/ 74 w 88"/>
                <a:gd name="T19" fmla="*/ 0 h 28"/>
                <a:gd name="T20" fmla="*/ 77 w 88"/>
                <a:gd name="T21" fmla="*/ 0 h 28"/>
                <a:gd name="T22" fmla="*/ 80 w 88"/>
                <a:gd name="T23" fmla="*/ 2 h 28"/>
                <a:gd name="T24" fmla="*/ 88 w 88"/>
                <a:gd name="T25" fmla="*/ 18 h 28"/>
                <a:gd name="T26" fmla="*/ 80 w 88"/>
                <a:gd name="T27" fmla="*/ 22 h 28"/>
                <a:gd name="T28" fmla="*/ 74 w 88"/>
                <a:gd name="T29" fmla="*/ 9 h 28"/>
                <a:gd name="T30" fmla="*/ 46 w 88"/>
                <a:gd name="T31" fmla="*/ 27 h 28"/>
                <a:gd name="T32" fmla="*/ 44 w 88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28">
                  <a:moveTo>
                    <a:pt x="44" y="28"/>
                  </a:moveTo>
                  <a:cubicBezTo>
                    <a:pt x="43" y="28"/>
                    <a:pt x="43" y="28"/>
                    <a:pt x="42" y="27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1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0"/>
                    <a:pt x="77" y="0"/>
                  </a:cubicBezTo>
                  <a:cubicBezTo>
                    <a:pt x="78" y="0"/>
                    <a:pt x="79" y="1"/>
                    <a:pt x="80" y="2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8"/>
                    <a:pt x="45" y="28"/>
                    <a:pt x="4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Rectangle 141"/>
            <p:cNvSpPr>
              <a:spLocks noChangeArrowheads="1"/>
            </p:cNvSpPr>
            <p:nvPr/>
          </p:nvSpPr>
          <p:spPr bwMode="auto">
            <a:xfrm>
              <a:off x="4592638" y="3935414"/>
              <a:ext cx="14288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0" name="Rectangle 142"/>
            <p:cNvSpPr>
              <a:spLocks noChangeArrowheads="1"/>
            </p:cNvSpPr>
            <p:nvPr/>
          </p:nvSpPr>
          <p:spPr bwMode="auto">
            <a:xfrm>
              <a:off x="4452938" y="3959226"/>
              <a:ext cx="15875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1" name="Rectangle 143"/>
            <p:cNvSpPr>
              <a:spLocks noChangeArrowheads="1"/>
            </p:cNvSpPr>
            <p:nvPr/>
          </p:nvSpPr>
          <p:spPr bwMode="auto">
            <a:xfrm>
              <a:off x="4483100" y="3943351"/>
              <a:ext cx="15875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2" name="Rectangle 144"/>
            <p:cNvSpPr>
              <a:spLocks noChangeArrowheads="1"/>
            </p:cNvSpPr>
            <p:nvPr/>
          </p:nvSpPr>
          <p:spPr bwMode="auto">
            <a:xfrm>
              <a:off x="4700588" y="3943351"/>
              <a:ext cx="15875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3" name="Rectangle 145"/>
            <p:cNvSpPr>
              <a:spLocks noChangeArrowheads="1"/>
            </p:cNvSpPr>
            <p:nvPr/>
          </p:nvSpPr>
          <p:spPr bwMode="auto">
            <a:xfrm>
              <a:off x="4732338" y="3959226"/>
              <a:ext cx="14288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4" name="Freeform 146"/>
            <p:cNvSpPr>
              <a:spLocks/>
            </p:cNvSpPr>
            <p:nvPr/>
          </p:nvSpPr>
          <p:spPr bwMode="auto">
            <a:xfrm>
              <a:off x="4483100" y="3602039"/>
              <a:ext cx="233363" cy="155575"/>
            </a:xfrm>
            <a:custGeom>
              <a:avLst/>
              <a:gdLst>
                <a:gd name="T0" fmla="*/ 120 w 120"/>
                <a:gd name="T1" fmla="*/ 80 h 80"/>
                <a:gd name="T2" fmla="*/ 0 w 120"/>
                <a:gd name="T3" fmla="*/ 80 h 80"/>
                <a:gd name="T4" fmla="*/ 0 w 120"/>
                <a:gd name="T5" fmla="*/ 60 h 80"/>
                <a:gd name="T6" fmla="*/ 51 w 120"/>
                <a:gd name="T7" fmla="*/ 0 h 80"/>
                <a:gd name="T8" fmla="*/ 53 w 120"/>
                <a:gd name="T9" fmla="*/ 8 h 80"/>
                <a:gd name="T10" fmla="*/ 8 w 120"/>
                <a:gd name="T11" fmla="*/ 60 h 80"/>
                <a:gd name="T12" fmla="*/ 8 w 120"/>
                <a:gd name="T13" fmla="*/ 72 h 80"/>
                <a:gd name="T14" fmla="*/ 112 w 120"/>
                <a:gd name="T15" fmla="*/ 72 h 80"/>
                <a:gd name="T16" fmla="*/ 112 w 120"/>
                <a:gd name="T17" fmla="*/ 60 h 80"/>
                <a:gd name="T18" fmla="*/ 67 w 120"/>
                <a:gd name="T19" fmla="*/ 8 h 80"/>
                <a:gd name="T20" fmla="*/ 69 w 120"/>
                <a:gd name="T21" fmla="*/ 0 h 80"/>
                <a:gd name="T22" fmla="*/ 120 w 120"/>
                <a:gd name="T23" fmla="*/ 60 h 80"/>
                <a:gd name="T24" fmla="*/ 120 w 120"/>
                <a:gd name="T2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80">
                  <a:moveTo>
                    <a:pt x="120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0"/>
                    <a:pt x="22" y="5"/>
                    <a:pt x="51" y="0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27" y="12"/>
                    <a:pt x="8" y="34"/>
                    <a:pt x="8" y="60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12" y="34"/>
                    <a:pt x="93" y="12"/>
                    <a:pt x="67" y="8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98" y="5"/>
                    <a:pt x="120" y="30"/>
                    <a:pt x="120" y="60"/>
                  </a:cubicBezTo>
                  <a:lnTo>
                    <a:pt x="12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5" name="Rectangle 147"/>
            <p:cNvSpPr>
              <a:spLocks noChangeArrowheads="1"/>
            </p:cNvSpPr>
            <p:nvPr/>
          </p:nvSpPr>
          <p:spPr bwMode="auto">
            <a:xfrm>
              <a:off x="4468813" y="3741739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7" name="Rectangle 148"/>
            <p:cNvSpPr>
              <a:spLocks noChangeArrowheads="1"/>
            </p:cNvSpPr>
            <p:nvPr/>
          </p:nvSpPr>
          <p:spPr bwMode="auto">
            <a:xfrm>
              <a:off x="4708525" y="3741739"/>
              <a:ext cx="238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8" name="Freeform 149"/>
            <p:cNvSpPr>
              <a:spLocks noEditPoints="1"/>
            </p:cNvSpPr>
            <p:nvPr/>
          </p:nvSpPr>
          <p:spPr bwMode="auto">
            <a:xfrm>
              <a:off x="4560888" y="3648076"/>
              <a:ext cx="77788" cy="7778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9" name="Rectangle 150"/>
            <p:cNvSpPr>
              <a:spLocks noChangeArrowheads="1"/>
            </p:cNvSpPr>
            <p:nvPr/>
          </p:nvSpPr>
          <p:spPr bwMode="auto">
            <a:xfrm>
              <a:off x="4530725" y="4051301"/>
              <a:ext cx="138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0" name="Rectangle 151"/>
            <p:cNvSpPr>
              <a:spLocks noChangeArrowheads="1"/>
            </p:cNvSpPr>
            <p:nvPr/>
          </p:nvSpPr>
          <p:spPr bwMode="auto">
            <a:xfrm>
              <a:off x="4530725" y="4021139"/>
              <a:ext cx="138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1" name="Freeform 152"/>
            <p:cNvSpPr>
              <a:spLocks/>
            </p:cNvSpPr>
            <p:nvPr/>
          </p:nvSpPr>
          <p:spPr bwMode="auto">
            <a:xfrm>
              <a:off x="4576763" y="3586164"/>
              <a:ext cx="46038" cy="69850"/>
            </a:xfrm>
            <a:custGeom>
              <a:avLst/>
              <a:gdLst>
                <a:gd name="T0" fmla="*/ 29 w 29"/>
                <a:gd name="T1" fmla="*/ 44 h 44"/>
                <a:gd name="T2" fmla="*/ 19 w 29"/>
                <a:gd name="T3" fmla="*/ 44 h 44"/>
                <a:gd name="T4" fmla="*/ 19 w 29"/>
                <a:gd name="T5" fmla="*/ 10 h 44"/>
                <a:gd name="T6" fmla="*/ 10 w 29"/>
                <a:gd name="T7" fmla="*/ 10 h 44"/>
                <a:gd name="T8" fmla="*/ 10 w 29"/>
                <a:gd name="T9" fmla="*/ 44 h 44"/>
                <a:gd name="T10" fmla="*/ 0 w 29"/>
                <a:gd name="T11" fmla="*/ 44 h 44"/>
                <a:gd name="T12" fmla="*/ 0 w 29"/>
                <a:gd name="T13" fmla="*/ 0 h 44"/>
                <a:gd name="T14" fmla="*/ 29 w 29"/>
                <a:gd name="T15" fmla="*/ 0 h 44"/>
                <a:gd name="T16" fmla="*/ 29 w 29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4">
                  <a:moveTo>
                    <a:pt x="29" y="44"/>
                  </a:moveTo>
                  <a:lnTo>
                    <a:pt x="19" y="44"/>
                  </a:lnTo>
                  <a:lnTo>
                    <a:pt x="19" y="10"/>
                  </a:lnTo>
                  <a:lnTo>
                    <a:pt x="10" y="10"/>
                  </a:lnTo>
                  <a:lnTo>
                    <a:pt x="10" y="44"/>
                  </a:lnTo>
                  <a:lnTo>
                    <a:pt x="0" y="44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2" name="Rectangle 153"/>
            <p:cNvSpPr>
              <a:spLocks noChangeArrowheads="1"/>
            </p:cNvSpPr>
            <p:nvPr/>
          </p:nvSpPr>
          <p:spPr bwMode="auto">
            <a:xfrm>
              <a:off x="4654550" y="367982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3" name="Rectangle 154"/>
            <p:cNvSpPr>
              <a:spLocks noChangeArrowheads="1"/>
            </p:cNvSpPr>
            <p:nvPr/>
          </p:nvSpPr>
          <p:spPr bwMode="auto">
            <a:xfrm>
              <a:off x="4530725" y="367982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" name="Szövegdoboz 2"/>
          <p:cNvSpPr txBox="1"/>
          <p:nvPr/>
        </p:nvSpPr>
        <p:spPr>
          <a:xfrm>
            <a:off x="3148462" y="1794104"/>
            <a:ext cx="6314223" cy="3524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665" b="1" dirty="0">
                <a:solidFill>
                  <a:srgbClr val="FFFFFF"/>
                </a:solidFill>
              </a:rPr>
              <a:t>Típusai: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Átmeneti jogcímen történő igénylés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	- GHG Krízis garanciával, 90%, </a:t>
            </a:r>
            <a:r>
              <a:rPr lang="hu-HU" sz="1498" dirty="0" err="1">
                <a:solidFill>
                  <a:srgbClr val="FFFFFF"/>
                </a:solidFill>
              </a:rPr>
              <a:t>max</a:t>
            </a:r>
            <a:r>
              <a:rPr lang="hu-HU" sz="1498" dirty="0">
                <a:solidFill>
                  <a:srgbClr val="FFFFFF"/>
                </a:solidFill>
              </a:rPr>
              <a:t> 6 év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Csekély összegű jogcímen történő igénylés</a:t>
            </a: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	- Normál GHG garanciával, 80%, </a:t>
            </a:r>
            <a:r>
              <a:rPr lang="hu-HU" sz="1498" dirty="0" err="1">
                <a:solidFill>
                  <a:srgbClr val="FFFFFF"/>
                </a:solidFill>
              </a:rPr>
              <a:t>max</a:t>
            </a:r>
            <a:r>
              <a:rPr lang="hu-HU" sz="1498" dirty="0">
                <a:solidFill>
                  <a:srgbClr val="FFFFFF"/>
                </a:solidFill>
              </a:rPr>
              <a:t> 10 év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hu-HU" sz="1332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hu-HU" sz="1332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665" b="1" dirty="0">
                <a:solidFill>
                  <a:srgbClr val="FFFFFF"/>
                </a:solidFill>
              </a:rPr>
              <a:t>Felhasználás célja (specialitások)</a:t>
            </a:r>
            <a:endParaRPr lang="hu-HU" sz="1665" b="1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Lakóingatlan és üdülő építése, vásárlása, felújítása nem finanszírozható</a:t>
            </a:r>
          </a:p>
          <a:p>
            <a:pPr marL="846176" lvl="1" indent="-237858" defTabSz="761147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hu-HU" sz="1498" dirty="0">
                <a:solidFill>
                  <a:srgbClr val="FFFFFF"/>
                </a:solidFill>
              </a:rPr>
              <a:t>KIV: a krízishelyzettel érintett szálláshely szolgáltatási szektor 5510, 5520, 5530, 5590</a:t>
            </a:r>
          </a:p>
          <a:p>
            <a:pPr marL="465603" indent="-237858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Cégvezetők számára cégautó finanszírozás kizárt, flotta már nem</a:t>
            </a:r>
            <a:endParaRPr lang="en-US" sz="1498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332" dirty="0">
              <a:solidFill>
                <a:srgbClr val="000000"/>
              </a:solidFill>
              <a:latin typeface="Calibri" panose="020F0502020204030204"/>
              <a:cs typeface="+mn-cs"/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498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107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Széchenyi Beruházási Plus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5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pic>
        <p:nvPicPr>
          <p:cNvPr id="24" name="Kép helye 23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8" r="13128"/>
          <a:stretch>
            <a:fillRect/>
          </a:stretch>
        </p:blipFill>
        <p:spPr>
          <a:xfrm>
            <a:off x="219395" y="1571686"/>
            <a:ext cx="2833231" cy="4668322"/>
          </a:xfrm>
        </p:spPr>
      </p:pic>
      <p:grpSp>
        <p:nvGrpSpPr>
          <p:cNvPr id="31" name="Группа 778"/>
          <p:cNvGrpSpPr/>
          <p:nvPr/>
        </p:nvGrpSpPr>
        <p:grpSpPr>
          <a:xfrm>
            <a:off x="8820150" y="1968179"/>
            <a:ext cx="373976" cy="413620"/>
            <a:chOff x="4375150" y="3586164"/>
            <a:chExt cx="449263" cy="496888"/>
          </a:xfrm>
          <a:solidFill>
            <a:schemeClr val="bg1"/>
          </a:solidFill>
        </p:grpSpPr>
        <p:sp>
          <p:nvSpPr>
            <p:cNvPr id="32" name="Rectangle 136"/>
            <p:cNvSpPr>
              <a:spLocks noChangeArrowheads="1"/>
            </p:cNvSpPr>
            <p:nvPr/>
          </p:nvSpPr>
          <p:spPr bwMode="auto">
            <a:xfrm>
              <a:off x="4646613" y="3865564"/>
              <a:ext cx="158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3" name="Rectangle 137"/>
            <p:cNvSpPr>
              <a:spLocks noChangeArrowheads="1"/>
            </p:cNvSpPr>
            <p:nvPr/>
          </p:nvSpPr>
          <p:spPr bwMode="auto">
            <a:xfrm>
              <a:off x="4537075" y="3865564"/>
              <a:ext cx="15875" cy="31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4" name="Freeform 138"/>
            <p:cNvSpPr>
              <a:spLocks/>
            </p:cNvSpPr>
            <p:nvPr/>
          </p:nvSpPr>
          <p:spPr bwMode="auto">
            <a:xfrm>
              <a:off x="4498975" y="3763964"/>
              <a:ext cx="201613" cy="125413"/>
            </a:xfrm>
            <a:custGeom>
              <a:avLst/>
              <a:gdLst>
                <a:gd name="T0" fmla="*/ 52 w 104"/>
                <a:gd name="T1" fmla="*/ 64 h 64"/>
                <a:gd name="T2" fmla="*/ 26 w 104"/>
                <a:gd name="T3" fmla="*/ 55 h 64"/>
                <a:gd name="T4" fmla="*/ 4 w 104"/>
                <a:gd name="T5" fmla="*/ 18 h 64"/>
                <a:gd name="T6" fmla="*/ 0 w 104"/>
                <a:gd name="T7" fmla="*/ 13 h 64"/>
                <a:gd name="T8" fmla="*/ 0 w 104"/>
                <a:gd name="T9" fmla="*/ 0 h 64"/>
                <a:gd name="T10" fmla="*/ 8 w 104"/>
                <a:gd name="T11" fmla="*/ 0 h 64"/>
                <a:gd name="T12" fmla="*/ 8 w 104"/>
                <a:gd name="T13" fmla="*/ 10 h 64"/>
                <a:gd name="T14" fmla="*/ 12 w 104"/>
                <a:gd name="T15" fmla="*/ 14 h 64"/>
                <a:gd name="T16" fmla="*/ 12 w 104"/>
                <a:gd name="T17" fmla="*/ 15 h 64"/>
                <a:gd name="T18" fmla="*/ 30 w 104"/>
                <a:gd name="T19" fmla="*/ 48 h 64"/>
                <a:gd name="T20" fmla="*/ 31 w 104"/>
                <a:gd name="T21" fmla="*/ 49 h 64"/>
                <a:gd name="T22" fmla="*/ 52 w 104"/>
                <a:gd name="T23" fmla="*/ 56 h 64"/>
                <a:gd name="T24" fmla="*/ 73 w 104"/>
                <a:gd name="T25" fmla="*/ 49 h 64"/>
                <a:gd name="T26" fmla="*/ 74 w 104"/>
                <a:gd name="T27" fmla="*/ 48 h 64"/>
                <a:gd name="T28" fmla="*/ 74 w 104"/>
                <a:gd name="T29" fmla="*/ 48 h 64"/>
                <a:gd name="T30" fmla="*/ 92 w 104"/>
                <a:gd name="T31" fmla="*/ 15 h 64"/>
                <a:gd name="T32" fmla="*/ 92 w 104"/>
                <a:gd name="T33" fmla="*/ 14 h 64"/>
                <a:gd name="T34" fmla="*/ 96 w 104"/>
                <a:gd name="T35" fmla="*/ 10 h 64"/>
                <a:gd name="T36" fmla="*/ 96 w 104"/>
                <a:gd name="T37" fmla="*/ 0 h 64"/>
                <a:gd name="T38" fmla="*/ 104 w 104"/>
                <a:gd name="T39" fmla="*/ 0 h 64"/>
                <a:gd name="T40" fmla="*/ 104 w 104"/>
                <a:gd name="T41" fmla="*/ 13 h 64"/>
                <a:gd name="T42" fmla="*/ 100 w 104"/>
                <a:gd name="T43" fmla="*/ 18 h 64"/>
                <a:gd name="T44" fmla="*/ 78 w 104"/>
                <a:gd name="T45" fmla="*/ 55 h 64"/>
                <a:gd name="T46" fmla="*/ 52 w 104"/>
                <a:gd name="T4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4" h="64">
                  <a:moveTo>
                    <a:pt x="52" y="64"/>
                  </a:moveTo>
                  <a:cubicBezTo>
                    <a:pt x="44" y="64"/>
                    <a:pt x="31" y="60"/>
                    <a:pt x="26" y="55"/>
                  </a:cubicBezTo>
                  <a:cubicBezTo>
                    <a:pt x="22" y="53"/>
                    <a:pt x="8" y="44"/>
                    <a:pt x="4" y="18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6" y="40"/>
                    <a:pt x="29" y="48"/>
                    <a:pt x="30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4" y="52"/>
                    <a:pt x="45" y="56"/>
                    <a:pt x="52" y="56"/>
                  </a:cubicBezTo>
                  <a:cubicBezTo>
                    <a:pt x="59" y="56"/>
                    <a:pt x="70" y="52"/>
                    <a:pt x="73" y="49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88" y="40"/>
                    <a:pt x="92" y="15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6" y="10"/>
                    <a:pt x="96" y="10"/>
                    <a:pt x="96" y="1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96" y="44"/>
                    <a:pt x="82" y="53"/>
                    <a:pt x="78" y="55"/>
                  </a:cubicBezTo>
                  <a:cubicBezTo>
                    <a:pt x="73" y="60"/>
                    <a:pt x="60" y="64"/>
                    <a:pt x="52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6" name="Freeform 139"/>
            <p:cNvSpPr>
              <a:spLocks/>
            </p:cNvSpPr>
            <p:nvPr/>
          </p:nvSpPr>
          <p:spPr bwMode="auto">
            <a:xfrm>
              <a:off x="4375150" y="3919539"/>
              <a:ext cx="449263" cy="163513"/>
            </a:xfrm>
            <a:custGeom>
              <a:avLst/>
              <a:gdLst>
                <a:gd name="T0" fmla="*/ 232 w 232"/>
                <a:gd name="T1" fmla="*/ 84 h 84"/>
                <a:gd name="T2" fmla="*/ 224 w 232"/>
                <a:gd name="T3" fmla="*/ 84 h 84"/>
                <a:gd name="T4" fmla="*/ 224 w 232"/>
                <a:gd name="T5" fmla="*/ 60 h 84"/>
                <a:gd name="T6" fmla="*/ 181 w 232"/>
                <a:gd name="T7" fmla="*/ 18 h 84"/>
                <a:gd name="T8" fmla="*/ 159 w 232"/>
                <a:gd name="T9" fmla="*/ 10 h 84"/>
                <a:gd name="T10" fmla="*/ 116 w 232"/>
                <a:gd name="T11" fmla="*/ 36 h 84"/>
                <a:gd name="T12" fmla="*/ 73 w 232"/>
                <a:gd name="T13" fmla="*/ 10 h 84"/>
                <a:gd name="T14" fmla="*/ 51 w 232"/>
                <a:gd name="T15" fmla="*/ 18 h 84"/>
                <a:gd name="T16" fmla="*/ 8 w 232"/>
                <a:gd name="T17" fmla="*/ 60 h 84"/>
                <a:gd name="T18" fmla="*/ 8 w 232"/>
                <a:gd name="T19" fmla="*/ 84 h 84"/>
                <a:gd name="T20" fmla="*/ 0 w 232"/>
                <a:gd name="T21" fmla="*/ 84 h 84"/>
                <a:gd name="T22" fmla="*/ 0 w 232"/>
                <a:gd name="T23" fmla="*/ 60 h 84"/>
                <a:gd name="T24" fmla="*/ 49 w 232"/>
                <a:gd name="T25" fmla="*/ 11 h 84"/>
                <a:gd name="T26" fmla="*/ 74 w 232"/>
                <a:gd name="T27" fmla="*/ 0 h 84"/>
                <a:gd name="T28" fmla="*/ 78 w 232"/>
                <a:gd name="T29" fmla="*/ 0 h 84"/>
                <a:gd name="T30" fmla="*/ 80 w 232"/>
                <a:gd name="T31" fmla="*/ 4 h 84"/>
                <a:gd name="T32" fmla="*/ 116 w 232"/>
                <a:gd name="T33" fmla="*/ 28 h 84"/>
                <a:gd name="T34" fmla="*/ 152 w 232"/>
                <a:gd name="T35" fmla="*/ 4 h 84"/>
                <a:gd name="T36" fmla="*/ 154 w 232"/>
                <a:gd name="T37" fmla="*/ 0 h 84"/>
                <a:gd name="T38" fmla="*/ 158 w 232"/>
                <a:gd name="T39" fmla="*/ 0 h 84"/>
                <a:gd name="T40" fmla="*/ 183 w 232"/>
                <a:gd name="T41" fmla="*/ 11 h 84"/>
                <a:gd name="T42" fmla="*/ 232 w 232"/>
                <a:gd name="T43" fmla="*/ 60 h 84"/>
                <a:gd name="T44" fmla="*/ 232 w 232"/>
                <a:gd name="T45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32" h="84">
                  <a:moveTo>
                    <a:pt x="232" y="84"/>
                  </a:moveTo>
                  <a:cubicBezTo>
                    <a:pt x="224" y="84"/>
                    <a:pt x="224" y="84"/>
                    <a:pt x="224" y="84"/>
                  </a:cubicBezTo>
                  <a:cubicBezTo>
                    <a:pt x="224" y="60"/>
                    <a:pt x="224" y="60"/>
                    <a:pt x="224" y="60"/>
                  </a:cubicBezTo>
                  <a:cubicBezTo>
                    <a:pt x="224" y="34"/>
                    <a:pt x="204" y="27"/>
                    <a:pt x="181" y="18"/>
                  </a:cubicBezTo>
                  <a:cubicBezTo>
                    <a:pt x="173" y="16"/>
                    <a:pt x="166" y="13"/>
                    <a:pt x="159" y="10"/>
                  </a:cubicBezTo>
                  <a:cubicBezTo>
                    <a:pt x="154" y="23"/>
                    <a:pt x="134" y="36"/>
                    <a:pt x="116" y="36"/>
                  </a:cubicBezTo>
                  <a:cubicBezTo>
                    <a:pt x="98" y="36"/>
                    <a:pt x="78" y="23"/>
                    <a:pt x="73" y="10"/>
                  </a:cubicBezTo>
                  <a:cubicBezTo>
                    <a:pt x="66" y="13"/>
                    <a:pt x="59" y="16"/>
                    <a:pt x="51" y="18"/>
                  </a:cubicBezTo>
                  <a:cubicBezTo>
                    <a:pt x="28" y="27"/>
                    <a:pt x="8" y="34"/>
                    <a:pt x="8" y="60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28"/>
                    <a:pt x="25" y="19"/>
                    <a:pt x="49" y="11"/>
                  </a:cubicBezTo>
                  <a:cubicBezTo>
                    <a:pt x="57" y="8"/>
                    <a:pt x="66" y="5"/>
                    <a:pt x="74" y="0"/>
                  </a:cubicBezTo>
                  <a:cubicBezTo>
                    <a:pt x="75" y="0"/>
                    <a:pt x="77" y="0"/>
                    <a:pt x="78" y="0"/>
                  </a:cubicBezTo>
                  <a:cubicBezTo>
                    <a:pt x="79" y="1"/>
                    <a:pt x="80" y="2"/>
                    <a:pt x="80" y="4"/>
                  </a:cubicBezTo>
                  <a:cubicBezTo>
                    <a:pt x="80" y="13"/>
                    <a:pt x="97" y="28"/>
                    <a:pt x="116" y="28"/>
                  </a:cubicBezTo>
                  <a:cubicBezTo>
                    <a:pt x="135" y="28"/>
                    <a:pt x="152" y="13"/>
                    <a:pt x="152" y="4"/>
                  </a:cubicBezTo>
                  <a:cubicBezTo>
                    <a:pt x="152" y="2"/>
                    <a:pt x="153" y="1"/>
                    <a:pt x="154" y="0"/>
                  </a:cubicBezTo>
                  <a:cubicBezTo>
                    <a:pt x="155" y="0"/>
                    <a:pt x="157" y="0"/>
                    <a:pt x="158" y="0"/>
                  </a:cubicBezTo>
                  <a:cubicBezTo>
                    <a:pt x="166" y="5"/>
                    <a:pt x="175" y="8"/>
                    <a:pt x="183" y="11"/>
                  </a:cubicBezTo>
                  <a:cubicBezTo>
                    <a:pt x="207" y="19"/>
                    <a:pt x="232" y="28"/>
                    <a:pt x="232" y="60"/>
                  </a:cubicBezTo>
                  <a:lnTo>
                    <a:pt x="23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140"/>
            <p:cNvSpPr>
              <a:spLocks/>
            </p:cNvSpPr>
            <p:nvPr/>
          </p:nvSpPr>
          <p:spPr bwMode="auto">
            <a:xfrm>
              <a:off x="4514850" y="3889376"/>
              <a:ext cx="169863" cy="53975"/>
            </a:xfrm>
            <a:custGeom>
              <a:avLst/>
              <a:gdLst>
                <a:gd name="T0" fmla="*/ 44 w 88"/>
                <a:gd name="T1" fmla="*/ 28 h 28"/>
                <a:gd name="T2" fmla="*/ 42 w 88"/>
                <a:gd name="T3" fmla="*/ 27 h 28"/>
                <a:gd name="T4" fmla="*/ 14 w 88"/>
                <a:gd name="T5" fmla="*/ 9 h 28"/>
                <a:gd name="T6" fmla="*/ 8 w 88"/>
                <a:gd name="T7" fmla="*/ 22 h 28"/>
                <a:gd name="T8" fmla="*/ 0 w 88"/>
                <a:gd name="T9" fmla="*/ 18 h 28"/>
                <a:gd name="T10" fmla="*/ 8 w 88"/>
                <a:gd name="T11" fmla="*/ 2 h 28"/>
                <a:gd name="T12" fmla="*/ 11 w 88"/>
                <a:gd name="T13" fmla="*/ 0 h 28"/>
                <a:gd name="T14" fmla="*/ 14 w 88"/>
                <a:gd name="T15" fmla="*/ 0 h 28"/>
                <a:gd name="T16" fmla="*/ 44 w 88"/>
                <a:gd name="T17" fmla="*/ 19 h 28"/>
                <a:gd name="T18" fmla="*/ 74 w 88"/>
                <a:gd name="T19" fmla="*/ 0 h 28"/>
                <a:gd name="T20" fmla="*/ 77 w 88"/>
                <a:gd name="T21" fmla="*/ 0 h 28"/>
                <a:gd name="T22" fmla="*/ 80 w 88"/>
                <a:gd name="T23" fmla="*/ 2 h 28"/>
                <a:gd name="T24" fmla="*/ 88 w 88"/>
                <a:gd name="T25" fmla="*/ 18 h 28"/>
                <a:gd name="T26" fmla="*/ 80 w 88"/>
                <a:gd name="T27" fmla="*/ 22 h 28"/>
                <a:gd name="T28" fmla="*/ 74 w 88"/>
                <a:gd name="T29" fmla="*/ 9 h 28"/>
                <a:gd name="T30" fmla="*/ 46 w 88"/>
                <a:gd name="T31" fmla="*/ 27 h 28"/>
                <a:gd name="T32" fmla="*/ 44 w 88"/>
                <a:gd name="T3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28">
                  <a:moveTo>
                    <a:pt x="44" y="28"/>
                  </a:moveTo>
                  <a:cubicBezTo>
                    <a:pt x="43" y="28"/>
                    <a:pt x="43" y="28"/>
                    <a:pt x="42" y="27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1"/>
                    <a:pt x="10" y="0"/>
                    <a:pt x="11" y="0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6" y="0"/>
                    <a:pt x="77" y="0"/>
                  </a:cubicBezTo>
                  <a:cubicBezTo>
                    <a:pt x="78" y="0"/>
                    <a:pt x="79" y="1"/>
                    <a:pt x="80" y="2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8"/>
                    <a:pt x="45" y="28"/>
                    <a:pt x="4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Rectangle 141"/>
            <p:cNvSpPr>
              <a:spLocks noChangeArrowheads="1"/>
            </p:cNvSpPr>
            <p:nvPr/>
          </p:nvSpPr>
          <p:spPr bwMode="auto">
            <a:xfrm>
              <a:off x="4592638" y="3935414"/>
              <a:ext cx="14288" cy="460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0" name="Rectangle 142"/>
            <p:cNvSpPr>
              <a:spLocks noChangeArrowheads="1"/>
            </p:cNvSpPr>
            <p:nvPr/>
          </p:nvSpPr>
          <p:spPr bwMode="auto">
            <a:xfrm>
              <a:off x="4452938" y="3959226"/>
              <a:ext cx="15875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1" name="Rectangle 143"/>
            <p:cNvSpPr>
              <a:spLocks noChangeArrowheads="1"/>
            </p:cNvSpPr>
            <p:nvPr/>
          </p:nvSpPr>
          <p:spPr bwMode="auto">
            <a:xfrm>
              <a:off x="4483100" y="3943351"/>
              <a:ext cx="15875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2" name="Rectangle 144"/>
            <p:cNvSpPr>
              <a:spLocks noChangeArrowheads="1"/>
            </p:cNvSpPr>
            <p:nvPr/>
          </p:nvSpPr>
          <p:spPr bwMode="auto">
            <a:xfrm>
              <a:off x="4700588" y="3943351"/>
              <a:ext cx="15875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3" name="Rectangle 145"/>
            <p:cNvSpPr>
              <a:spLocks noChangeArrowheads="1"/>
            </p:cNvSpPr>
            <p:nvPr/>
          </p:nvSpPr>
          <p:spPr bwMode="auto">
            <a:xfrm>
              <a:off x="4732338" y="3959226"/>
              <a:ext cx="14288" cy="1238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4" name="Freeform 146"/>
            <p:cNvSpPr>
              <a:spLocks/>
            </p:cNvSpPr>
            <p:nvPr/>
          </p:nvSpPr>
          <p:spPr bwMode="auto">
            <a:xfrm>
              <a:off x="4483100" y="3602039"/>
              <a:ext cx="233363" cy="155575"/>
            </a:xfrm>
            <a:custGeom>
              <a:avLst/>
              <a:gdLst>
                <a:gd name="T0" fmla="*/ 120 w 120"/>
                <a:gd name="T1" fmla="*/ 80 h 80"/>
                <a:gd name="T2" fmla="*/ 0 w 120"/>
                <a:gd name="T3" fmla="*/ 80 h 80"/>
                <a:gd name="T4" fmla="*/ 0 w 120"/>
                <a:gd name="T5" fmla="*/ 60 h 80"/>
                <a:gd name="T6" fmla="*/ 51 w 120"/>
                <a:gd name="T7" fmla="*/ 0 h 80"/>
                <a:gd name="T8" fmla="*/ 53 w 120"/>
                <a:gd name="T9" fmla="*/ 8 h 80"/>
                <a:gd name="T10" fmla="*/ 8 w 120"/>
                <a:gd name="T11" fmla="*/ 60 h 80"/>
                <a:gd name="T12" fmla="*/ 8 w 120"/>
                <a:gd name="T13" fmla="*/ 72 h 80"/>
                <a:gd name="T14" fmla="*/ 112 w 120"/>
                <a:gd name="T15" fmla="*/ 72 h 80"/>
                <a:gd name="T16" fmla="*/ 112 w 120"/>
                <a:gd name="T17" fmla="*/ 60 h 80"/>
                <a:gd name="T18" fmla="*/ 67 w 120"/>
                <a:gd name="T19" fmla="*/ 8 h 80"/>
                <a:gd name="T20" fmla="*/ 69 w 120"/>
                <a:gd name="T21" fmla="*/ 0 h 80"/>
                <a:gd name="T22" fmla="*/ 120 w 120"/>
                <a:gd name="T23" fmla="*/ 60 h 80"/>
                <a:gd name="T24" fmla="*/ 120 w 120"/>
                <a:gd name="T2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0" h="80">
                  <a:moveTo>
                    <a:pt x="120" y="80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30"/>
                    <a:pt x="22" y="5"/>
                    <a:pt x="51" y="0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27" y="12"/>
                    <a:pt x="8" y="34"/>
                    <a:pt x="8" y="60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112" y="72"/>
                    <a:pt x="112" y="72"/>
                    <a:pt x="112" y="72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12" y="34"/>
                    <a:pt x="93" y="12"/>
                    <a:pt x="67" y="8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98" y="5"/>
                    <a:pt x="120" y="30"/>
                    <a:pt x="120" y="60"/>
                  </a:cubicBezTo>
                  <a:lnTo>
                    <a:pt x="120" y="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5" name="Rectangle 147"/>
            <p:cNvSpPr>
              <a:spLocks noChangeArrowheads="1"/>
            </p:cNvSpPr>
            <p:nvPr/>
          </p:nvSpPr>
          <p:spPr bwMode="auto">
            <a:xfrm>
              <a:off x="4468813" y="3741739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7" name="Rectangle 148"/>
            <p:cNvSpPr>
              <a:spLocks noChangeArrowheads="1"/>
            </p:cNvSpPr>
            <p:nvPr/>
          </p:nvSpPr>
          <p:spPr bwMode="auto">
            <a:xfrm>
              <a:off x="4708525" y="3741739"/>
              <a:ext cx="238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8" name="Freeform 149"/>
            <p:cNvSpPr>
              <a:spLocks noEditPoints="1"/>
            </p:cNvSpPr>
            <p:nvPr/>
          </p:nvSpPr>
          <p:spPr bwMode="auto">
            <a:xfrm>
              <a:off x="4560888" y="3648076"/>
              <a:ext cx="77788" cy="7778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6"/>
                    <a:pt x="13" y="32"/>
                    <a:pt x="20" y="32"/>
                  </a:cubicBezTo>
                  <a:cubicBezTo>
                    <a:pt x="27" y="32"/>
                    <a:pt x="32" y="26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9" name="Rectangle 150"/>
            <p:cNvSpPr>
              <a:spLocks noChangeArrowheads="1"/>
            </p:cNvSpPr>
            <p:nvPr/>
          </p:nvSpPr>
          <p:spPr bwMode="auto">
            <a:xfrm>
              <a:off x="4530725" y="4051301"/>
              <a:ext cx="138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0" name="Rectangle 151"/>
            <p:cNvSpPr>
              <a:spLocks noChangeArrowheads="1"/>
            </p:cNvSpPr>
            <p:nvPr/>
          </p:nvSpPr>
          <p:spPr bwMode="auto">
            <a:xfrm>
              <a:off x="4530725" y="4021139"/>
              <a:ext cx="138113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1" name="Freeform 152"/>
            <p:cNvSpPr>
              <a:spLocks/>
            </p:cNvSpPr>
            <p:nvPr/>
          </p:nvSpPr>
          <p:spPr bwMode="auto">
            <a:xfrm>
              <a:off x="4576763" y="3586164"/>
              <a:ext cx="46038" cy="69850"/>
            </a:xfrm>
            <a:custGeom>
              <a:avLst/>
              <a:gdLst>
                <a:gd name="T0" fmla="*/ 29 w 29"/>
                <a:gd name="T1" fmla="*/ 44 h 44"/>
                <a:gd name="T2" fmla="*/ 19 w 29"/>
                <a:gd name="T3" fmla="*/ 44 h 44"/>
                <a:gd name="T4" fmla="*/ 19 w 29"/>
                <a:gd name="T5" fmla="*/ 10 h 44"/>
                <a:gd name="T6" fmla="*/ 10 w 29"/>
                <a:gd name="T7" fmla="*/ 10 h 44"/>
                <a:gd name="T8" fmla="*/ 10 w 29"/>
                <a:gd name="T9" fmla="*/ 44 h 44"/>
                <a:gd name="T10" fmla="*/ 0 w 29"/>
                <a:gd name="T11" fmla="*/ 44 h 44"/>
                <a:gd name="T12" fmla="*/ 0 w 29"/>
                <a:gd name="T13" fmla="*/ 0 h 44"/>
                <a:gd name="T14" fmla="*/ 29 w 29"/>
                <a:gd name="T15" fmla="*/ 0 h 44"/>
                <a:gd name="T16" fmla="*/ 29 w 29"/>
                <a:gd name="T1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44">
                  <a:moveTo>
                    <a:pt x="29" y="44"/>
                  </a:moveTo>
                  <a:lnTo>
                    <a:pt x="19" y="44"/>
                  </a:lnTo>
                  <a:lnTo>
                    <a:pt x="19" y="10"/>
                  </a:lnTo>
                  <a:lnTo>
                    <a:pt x="10" y="10"/>
                  </a:lnTo>
                  <a:lnTo>
                    <a:pt x="10" y="44"/>
                  </a:lnTo>
                  <a:lnTo>
                    <a:pt x="0" y="44"/>
                  </a:lnTo>
                  <a:lnTo>
                    <a:pt x="0" y="0"/>
                  </a:lnTo>
                  <a:lnTo>
                    <a:pt x="29" y="0"/>
                  </a:lnTo>
                  <a:lnTo>
                    <a:pt x="29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2" name="Rectangle 153"/>
            <p:cNvSpPr>
              <a:spLocks noChangeArrowheads="1"/>
            </p:cNvSpPr>
            <p:nvPr/>
          </p:nvSpPr>
          <p:spPr bwMode="auto">
            <a:xfrm>
              <a:off x="4654550" y="367982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3" name="Rectangle 154"/>
            <p:cNvSpPr>
              <a:spLocks noChangeArrowheads="1"/>
            </p:cNvSpPr>
            <p:nvPr/>
          </p:nvSpPr>
          <p:spPr bwMode="auto">
            <a:xfrm>
              <a:off x="4530725" y="3679826"/>
              <a:ext cx="14288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  <p:sp>
        <p:nvSpPr>
          <p:cNvPr id="3" name="Szövegdoboz 2"/>
          <p:cNvSpPr txBox="1"/>
          <p:nvPr/>
        </p:nvSpPr>
        <p:spPr>
          <a:xfrm>
            <a:off x="3148462" y="1794104"/>
            <a:ext cx="6314223" cy="4446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665" b="1" dirty="0">
                <a:solidFill>
                  <a:srgbClr val="FFFFFF"/>
                </a:solidFill>
              </a:rPr>
              <a:t>Egyéb paraméterek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A beruházás tárgyát be kell vonni az ügyletbe 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Önerő nagysága: 20 %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Rendelkezésre tartási idő: 1-23 hónap </a:t>
            </a:r>
            <a:endParaRPr lang="hu-HU" sz="1498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Türelmi idő: 1-24 hónap</a:t>
            </a:r>
            <a:endParaRPr lang="hu-HU" sz="1498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Tőketörlesztés: lineáris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Működési múlt: 1 teljes lezárt ügyleti évre van szükség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Számlaforgalom: 1x-es számlaforgalom </a:t>
            </a:r>
            <a:endParaRPr lang="hu-HU" sz="1498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hu-HU" sz="1332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endParaRPr lang="hu-HU" sz="1332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665" b="1" dirty="0">
                <a:solidFill>
                  <a:srgbClr val="FFFFFF"/>
                </a:solidFill>
              </a:rPr>
              <a:t>SZB+ </a:t>
            </a:r>
            <a:r>
              <a:rPr lang="hu-HU" sz="1665" b="1" dirty="0">
                <a:solidFill>
                  <a:srgbClr val="FFFFFF"/>
                </a:solidFill>
              </a:rPr>
              <a:t>kiváltás</a:t>
            </a:r>
            <a:endParaRPr lang="hu-HU" sz="1665" b="1" dirty="0">
              <a:solidFill>
                <a:srgbClr val="FFFFFF"/>
              </a:solidFill>
            </a:endParaRP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250 m HUF ügyletnagyságig adható, futamidő </a:t>
            </a:r>
            <a:r>
              <a:rPr lang="hu-HU" sz="1498" dirty="0" err="1">
                <a:solidFill>
                  <a:srgbClr val="FFFFFF"/>
                </a:solidFill>
              </a:rPr>
              <a:t>max</a:t>
            </a:r>
            <a:r>
              <a:rPr lang="hu-HU" sz="1498" dirty="0">
                <a:solidFill>
                  <a:srgbClr val="FFFFFF"/>
                </a:solidFill>
              </a:rPr>
              <a:t>. 6 év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Csak piaci </a:t>
            </a:r>
            <a:r>
              <a:rPr lang="hu-HU" sz="1498" dirty="0" err="1">
                <a:solidFill>
                  <a:srgbClr val="FFFFFF"/>
                </a:solidFill>
              </a:rPr>
              <a:t>árazású</a:t>
            </a:r>
            <a:r>
              <a:rPr lang="hu-HU" sz="1498" dirty="0">
                <a:solidFill>
                  <a:srgbClr val="FFFFFF"/>
                </a:solidFill>
              </a:rPr>
              <a:t> hitel váltható ki!</a:t>
            </a:r>
          </a:p>
          <a:p>
            <a:pPr marL="513175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Saját banki kiváltás (2020.01.01. napját megelőző hiteleknél):</a:t>
            </a:r>
          </a:p>
          <a:p>
            <a:pPr marL="761147" lvl="2" indent="0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- Krízis korlát végett: +30% likviditás vagy + 1 év türelmi idő</a:t>
            </a:r>
          </a:p>
          <a:p>
            <a:pPr marL="528574" lvl="1" indent="-285430" defTabSz="761147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Idegen banki kiváltás:</a:t>
            </a:r>
          </a:p>
          <a:p>
            <a:pPr marL="761147" lvl="2" indent="0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- Nincs megkötés</a:t>
            </a:r>
            <a:endParaRPr lang="en-US" sz="1498" dirty="0">
              <a:solidFill>
                <a:srgbClr val="FFFFFF"/>
              </a:solidFill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332" dirty="0">
              <a:solidFill>
                <a:srgbClr val="000000"/>
              </a:solidFill>
              <a:latin typeface="Calibri" panose="020F0502020204030204"/>
              <a:cs typeface="+mn-cs"/>
            </a:endParaRPr>
          </a:p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endParaRPr lang="hu-HU" sz="1498" dirty="0">
              <a:solidFill>
                <a:srgbClr val="000000"/>
              </a:solidFill>
              <a:latin typeface="Calibri" panose="020F050202020403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0501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itle 45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hu-HU" dirty="0" smtClean="0"/>
              <a:t>Agrár Széchenyi Kártya Plusz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8"/>
          </p:nvPr>
        </p:nvSpPr>
        <p:spPr>
          <a:xfrm>
            <a:off x="3052626" y="1571687"/>
            <a:ext cx="6517459" cy="4668321"/>
          </a:xfrm>
          <a:solidFill>
            <a:schemeClr val="tx2"/>
          </a:solidFill>
        </p:spPr>
        <p:txBody>
          <a:bodyPr rtlCol="0"/>
          <a:lstStyle/>
          <a:p>
            <a:r>
              <a:rPr lang="hu-HU" sz="1332" dirty="0"/>
              <a:t> </a:t>
            </a:r>
            <a:endParaRPr lang="hu-HU" sz="1332" dirty="0"/>
          </a:p>
        </p:txBody>
      </p:sp>
      <p:grpSp>
        <p:nvGrpSpPr>
          <p:cNvPr id="14" name="Group 13"/>
          <p:cNvGrpSpPr/>
          <p:nvPr/>
        </p:nvGrpSpPr>
        <p:grpSpPr>
          <a:xfrm>
            <a:off x="9281616" y="5951539"/>
            <a:ext cx="288469" cy="288470"/>
            <a:chOff x="5650207" y="6062949"/>
            <a:chExt cx="346542" cy="346543"/>
          </a:xfrm>
        </p:grpSpPr>
        <p:sp>
          <p:nvSpPr>
            <p:cNvPr id="15" name="Right Triangle 14"/>
            <p:cNvSpPr/>
            <p:nvPr/>
          </p:nvSpPr>
          <p:spPr>
            <a:xfrm rot="16200000">
              <a:off x="5650207" y="6062950"/>
              <a:ext cx="346542" cy="346542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6" name="Right Triangle 15"/>
            <p:cNvSpPr/>
            <p:nvPr/>
          </p:nvSpPr>
          <p:spPr>
            <a:xfrm rot="5400000">
              <a:off x="5650207" y="6062949"/>
              <a:ext cx="346542" cy="346542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61147" fontAlgn="auto">
                <a:spcBef>
                  <a:spcPts val="0"/>
                </a:spcBef>
                <a:spcAft>
                  <a:spcPts val="0"/>
                </a:spcAft>
              </a:pPr>
              <a:endParaRPr lang="en-US" sz="1498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73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6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154244" y="2204564"/>
            <a:ext cx="6314223" cy="31661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998" b="1" dirty="0">
                <a:solidFill>
                  <a:srgbClr val="FFFFFF"/>
                </a:solidFill>
              </a:rPr>
              <a:t>Legfontosabb paraméterek</a:t>
            </a:r>
          </a:p>
          <a:p>
            <a:pPr marL="749160" lvl="1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Fő biztosíték: AVHGA </a:t>
            </a:r>
            <a:r>
              <a:rPr lang="hu-HU" sz="1498" dirty="0">
                <a:solidFill>
                  <a:srgbClr val="FFFFFF"/>
                </a:solidFill>
              </a:rPr>
              <a:t>90%-</a:t>
            </a:r>
            <a:r>
              <a:rPr lang="hu-HU" sz="1498" dirty="0" err="1">
                <a:solidFill>
                  <a:srgbClr val="FFFFFF"/>
                </a:solidFill>
              </a:rPr>
              <a:t>os</a:t>
            </a:r>
            <a:r>
              <a:rPr lang="hu-HU" sz="1498" dirty="0">
                <a:solidFill>
                  <a:srgbClr val="FFFFFF"/>
                </a:solidFill>
              </a:rPr>
              <a:t>  készfizető </a:t>
            </a:r>
            <a:r>
              <a:rPr lang="hu-HU" sz="1498" dirty="0">
                <a:solidFill>
                  <a:srgbClr val="FFFFFF"/>
                </a:solidFill>
              </a:rPr>
              <a:t>kezességvállalása</a:t>
            </a:r>
          </a:p>
          <a:p>
            <a:pPr marL="749160" lvl="1" indent="-285430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Hitelösszeg: </a:t>
            </a:r>
            <a:r>
              <a:rPr lang="hu-HU" sz="1498" dirty="0" err="1">
                <a:solidFill>
                  <a:srgbClr val="FFFFFF"/>
                </a:solidFill>
              </a:rPr>
              <a:t>max</a:t>
            </a:r>
            <a:r>
              <a:rPr lang="hu-HU" sz="1498" dirty="0">
                <a:solidFill>
                  <a:srgbClr val="FFFFFF"/>
                </a:solidFill>
              </a:rPr>
              <a:t> 200 m HUF</a:t>
            </a:r>
          </a:p>
          <a:p>
            <a:pPr marL="749160" lvl="1" indent="-237858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hu-HU" sz="1498" dirty="0">
                <a:solidFill>
                  <a:srgbClr val="FFFFFF"/>
                </a:solidFill>
              </a:rPr>
              <a:t>Magasabb </a:t>
            </a:r>
            <a:r>
              <a:rPr lang="hu-HU" sz="1498" dirty="0">
                <a:solidFill>
                  <a:srgbClr val="FFFFFF"/>
                </a:solidFill>
              </a:rPr>
              <a:t>összegű támogatás:</a:t>
            </a:r>
          </a:p>
          <a:p>
            <a:pPr marL="1141720" lvl="3" indent="0" algn="just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-100% kamattámogatás a hitel teljes </a:t>
            </a:r>
            <a:r>
              <a:rPr lang="hu-HU" sz="1498" dirty="0" err="1">
                <a:solidFill>
                  <a:srgbClr val="FFFFFF"/>
                </a:solidFill>
              </a:rPr>
              <a:t>futamidejére</a:t>
            </a:r>
            <a:endParaRPr lang="hu-HU" sz="1498" dirty="0">
              <a:solidFill>
                <a:srgbClr val="FFFFFF"/>
              </a:solidFill>
            </a:endParaRPr>
          </a:p>
          <a:p>
            <a:pPr marL="1141720" lvl="3" indent="0" algn="just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-100% kezességi díjtámogatás a kezességvállalás teljes </a:t>
            </a:r>
            <a:r>
              <a:rPr lang="hu-HU" sz="1498" dirty="0">
                <a:solidFill>
                  <a:srgbClr val="FFFFFF"/>
                </a:solidFill>
              </a:rPr>
              <a:t>idejére</a:t>
            </a:r>
            <a:endParaRPr lang="hu-HU" sz="1498" dirty="0">
              <a:solidFill>
                <a:srgbClr val="FFFFFF"/>
              </a:solidFill>
            </a:endParaRPr>
          </a:p>
          <a:p>
            <a:pPr marL="1141720" lvl="3" indent="0" algn="just" defTabSz="76114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</a:rPr>
              <a:t>-100% kezelési költségtámogatás a hitel teljes </a:t>
            </a:r>
            <a:r>
              <a:rPr lang="hu-HU" sz="1498" dirty="0" err="1">
                <a:solidFill>
                  <a:srgbClr val="FFFFFF"/>
                </a:solidFill>
              </a:rPr>
              <a:t>futamidejére</a:t>
            </a:r>
            <a:endParaRPr lang="hu-HU" sz="1498" dirty="0">
              <a:solidFill>
                <a:srgbClr val="FFFFFF"/>
              </a:solidFill>
            </a:endParaRPr>
          </a:p>
        </p:txBody>
      </p:sp>
      <p:pic>
        <p:nvPicPr>
          <p:cNvPr id="8" name="Kép helye 7"/>
          <p:cNvPicPr>
            <a:picLocks noGrp="1" noChangeAspect="1"/>
          </p:cNvPicPr>
          <p:nvPr>
            <p:ph type="pic"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90" r="17490"/>
          <a:stretch>
            <a:fillRect/>
          </a:stretch>
        </p:blipFill>
        <p:spPr>
          <a:xfrm>
            <a:off x="207472" y="1571977"/>
            <a:ext cx="2845124" cy="4667431"/>
          </a:xfrm>
        </p:spPr>
      </p:pic>
      <p:grpSp>
        <p:nvGrpSpPr>
          <p:cNvPr id="35" name="Группа 754"/>
          <p:cNvGrpSpPr/>
          <p:nvPr/>
        </p:nvGrpSpPr>
        <p:grpSpPr>
          <a:xfrm>
            <a:off x="8800988" y="1835874"/>
            <a:ext cx="412299" cy="407013"/>
            <a:chOff x="8154988" y="4422776"/>
            <a:chExt cx="495300" cy="488950"/>
          </a:xfrm>
          <a:solidFill>
            <a:schemeClr val="bg1"/>
          </a:solidFill>
        </p:grpSpPr>
        <p:sp>
          <p:nvSpPr>
            <p:cNvPr id="36" name="Rectangle 465"/>
            <p:cNvSpPr>
              <a:spLocks noChangeArrowheads="1"/>
            </p:cNvSpPr>
            <p:nvPr/>
          </p:nvSpPr>
          <p:spPr bwMode="auto">
            <a:xfrm>
              <a:off x="8394700" y="4532313"/>
              <a:ext cx="15875" cy="3794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7" name="Freeform 466"/>
            <p:cNvSpPr>
              <a:spLocks noEditPoints="1"/>
            </p:cNvSpPr>
            <p:nvPr/>
          </p:nvSpPr>
          <p:spPr bwMode="auto">
            <a:xfrm>
              <a:off x="8332788" y="4422776"/>
              <a:ext cx="139700" cy="233363"/>
            </a:xfrm>
            <a:custGeom>
              <a:avLst/>
              <a:gdLst>
                <a:gd name="T0" fmla="*/ 36 w 72"/>
                <a:gd name="T1" fmla="*/ 120 h 120"/>
                <a:gd name="T2" fmla="*/ 33 w 72"/>
                <a:gd name="T3" fmla="*/ 119 h 120"/>
                <a:gd name="T4" fmla="*/ 0 w 72"/>
                <a:gd name="T5" fmla="*/ 60 h 120"/>
                <a:gd name="T6" fmla="*/ 33 w 72"/>
                <a:gd name="T7" fmla="*/ 1 h 120"/>
                <a:gd name="T8" fmla="*/ 38 w 72"/>
                <a:gd name="T9" fmla="*/ 1 h 120"/>
                <a:gd name="T10" fmla="*/ 72 w 72"/>
                <a:gd name="T11" fmla="*/ 60 h 120"/>
                <a:gd name="T12" fmla="*/ 38 w 72"/>
                <a:gd name="T13" fmla="*/ 119 h 120"/>
                <a:gd name="T14" fmla="*/ 36 w 72"/>
                <a:gd name="T15" fmla="*/ 120 h 120"/>
                <a:gd name="T16" fmla="*/ 36 w 72"/>
                <a:gd name="T17" fmla="*/ 10 h 120"/>
                <a:gd name="T18" fmla="*/ 8 w 72"/>
                <a:gd name="T19" fmla="*/ 60 h 120"/>
                <a:gd name="T20" fmla="*/ 36 w 72"/>
                <a:gd name="T21" fmla="*/ 111 h 120"/>
                <a:gd name="T22" fmla="*/ 64 w 72"/>
                <a:gd name="T23" fmla="*/ 60 h 120"/>
                <a:gd name="T24" fmla="*/ 36 w 72"/>
                <a:gd name="T25" fmla="*/ 1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20">
                  <a:moveTo>
                    <a:pt x="36" y="120"/>
                  </a:moveTo>
                  <a:cubicBezTo>
                    <a:pt x="35" y="120"/>
                    <a:pt x="34" y="120"/>
                    <a:pt x="33" y="119"/>
                  </a:cubicBezTo>
                  <a:cubicBezTo>
                    <a:pt x="32" y="118"/>
                    <a:pt x="0" y="88"/>
                    <a:pt x="0" y="60"/>
                  </a:cubicBezTo>
                  <a:cubicBezTo>
                    <a:pt x="0" y="32"/>
                    <a:pt x="32" y="3"/>
                    <a:pt x="33" y="1"/>
                  </a:cubicBezTo>
                  <a:cubicBezTo>
                    <a:pt x="35" y="0"/>
                    <a:pt x="37" y="0"/>
                    <a:pt x="38" y="1"/>
                  </a:cubicBezTo>
                  <a:cubicBezTo>
                    <a:pt x="40" y="3"/>
                    <a:pt x="72" y="32"/>
                    <a:pt x="72" y="60"/>
                  </a:cubicBezTo>
                  <a:cubicBezTo>
                    <a:pt x="72" y="88"/>
                    <a:pt x="40" y="118"/>
                    <a:pt x="38" y="119"/>
                  </a:cubicBezTo>
                  <a:cubicBezTo>
                    <a:pt x="38" y="120"/>
                    <a:pt x="37" y="120"/>
                    <a:pt x="36" y="120"/>
                  </a:cubicBezTo>
                  <a:close/>
                  <a:moveTo>
                    <a:pt x="36" y="10"/>
                  </a:moveTo>
                  <a:cubicBezTo>
                    <a:pt x="28" y="18"/>
                    <a:pt x="8" y="40"/>
                    <a:pt x="8" y="60"/>
                  </a:cubicBezTo>
                  <a:cubicBezTo>
                    <a:pt x="8" y="80"/>
                    <a:pt x="28" y="103"/>
                    <a:pt x="36" y="111"/>
                  </a:cubicBezTo>
                  <a:cubicBezTo>
                    <a:pt x="43" y="103"/>
                    <a:pt x="64" y="80"/>
                    <a:pt x="64" y="60"/>
                  </a:cubicBezTo>
                  <a:cubicBezTo>
                    <a:pt x="64" y="40"/>
                    <a:pt x="43" y="18"/>
                    <a:pt x="3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8" name="Freeform 467"/>
            <p:cNvSpPr>
              <a:spLocks noEditPoints="1"/>
            </p:cNvSpPr>
            <p:nvPr/>
          </p:nvSpPr>
          <p:spPr bwMode="auto">
            <a:xfrm>
              <a:off x="8278813" y="4610101"/>
              <a:ext cx="131763" cy="123825"/>
            </a:xfrm>
            <a:custGeom>
              <a:avLst/>
              <a:gdLst>
                <a:gd name="T0" fmla="*/ 60 w 68"/>
                <a:gd name="T1" fmla="*/ 64 h 64"/>
                <a:gd name="T2" fmla="*/ 21 w 68"/>
                <a:gd name="T3" fmla="*/ 51 h 64"/>
                <a:gd name="T4" fmla="*/ 0 w 68"/>
                <a:gd name="T5" fmla="*/ 5 h 64"/>
                <a:gd name="T6" fmla="*/ 1 w 68"/>
                <a:gd name="T7" fmla="*/ 2 h 64"/>
                <a:gd name="T8" fmla="*/ 3 w 68"/>
                <a:gd name="T9" fmla="*/ 0 h 64"/>
                <a:gd name="T10" fmla="*/ 7 w 68"/>
                <a:gd name="T11" fmla="*/ 0 h 64"/>
                <a:gd name="T12" fmla="*/ 43 w 68"/>
                <a:gd name="T13" fmla="*/ 14 h 64"/>
                <a:gd name="T14" fmla="*/ 68 w 68"/>
                <a:gd name="T15" fmla="*/ 59 h 64"/>
                <a:gd name="T16" fmla="*/ 67 w 68"/>
                <a:gd name="T17" fmla="*/ 63 h 64"/>
                <a:gd name="T18" fmla="*/ 64 w 68"/>
                <a:gd name="T19" fmla="*/ 64 h 64"/>
                <a:gd name="T20" fmla="*/ 60 w 68"/>
                <a:gd name="T21" fmla="*/ 64 h 64"/>
                <a:gd name="T22" fmla="*/ 9 w 68"/>
                <a:gd name="T23" fmla="*/ 8 h 64"/>
                <a:gd name="T24" fmla="*/ 27 w 68"/>
                <a:gd name="T25" fmla="*/ 46 h 64"/>
                <a:gd name="T26" fmla="*/ 58 w 68"/>
                <a:gd name="T27" fmla="*/ 56 h 64"/>
                <a:gd name="T28" fmla="*/ 37 w 68"/>
                <a:gd name="T29" fmla="*/ 19 h 64"/>
                <a:gd name="T30" fmla="*/ 9 w 68"/>
                <a:gd name="T31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8" h="64">
                  <a:moveTo>
                    <a:pt x="60" y="64"/>
                  </a:moveTo>
                  <a:cubicBezTo>
                    <a:pt x="52" y="64"/>
                    <a:pt x="33" y="63"/>
                    <a:pt x="21" y="51"/>
                  </a:cubicBezTo>
                  <a:cubicBezTo>
                    <a:pt x="6" y="36"/>
                    <a:pt x="0" y="6"/>
                    <a:pt x="0" y="5"/>
                  </a:cubicBezTo>
                  <a:cubicBezTo>
                    <a:pt x="0" y="4"/>
                    <a:pt x="0" y="3"/>
                    <a:pt x="1" y="2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5" y="0"/>
                    <a:pt x="7" y="0"/>
                  </a:cubicBezTo>
                  <a:cubicBezTo>
                    <a:pt x="14" y="0"/>
                    <a:pt x="31" y="2"/>
                    <a:pt x="43" y="14"/>
                  </a:cubicBezTo>
                  <a:cubicBezTo>
                    <a:pt x="57" y="28"/>
                    <a:pt x="67" y="58"/>
                    <a:pt x="68" y="59"/>
                  </a:cubicBezTo>
                  <a:cubicBezTo>
                    <a:pt x="68" y="60"/>
                    <a:pt x="68" y="62"/>
                    <a:pt x="67" y="63"/>
                  </a:cubicBezTo>
                  <a:cubicBezTo>
                    <a:pt x="66" y="64"/>
                    <a:pt x="65" y="64"/>
                    <a:pt x="64" y="64"/>
                  </a:cubicBezTo>
                  <a:cubicBezTo>
                    <a:pt x="64" y="64"/>
                    <a:pt x="63" y="64"/>
                    <a:pt x="60" y="64"/>
                  </a:cubicBezTo>
                  <a:close/>
                  <a:moveTo>
                    <a:pt x="9" y="8"/>
                  </a:moveTo>
                  <a:cubicBezTo>
                    <a:pt x="11" y="17"/>
                    <a:pt x="17" y="36"/>
                    <a:pt x="27" y="46"/>
                  </a:cubicBezTo>
                  <a:cubicBezTo>
                    <a:pt x="36" y="55"/>
                    <a:pt x="50" y="56"/>
                    <a:pt x="58" y="56"/>
                  </a:cubicBezTo>
                  <a:cubicBezTo>
                    <a:pt x="55" y="47"/>
                    <a:pt x="47" y="29"/>
                    <a:pt x="37" y="19"/>
                  </a:cubicBezTo>
                  <a:cubicBezTo>
                    <a:pt x="28" y="10"/>
                    <a:pt x="15" y="9"/>
                    <a:pt x="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39" name="Freeform 468"/>
            <p:cNvSpPr>
              <a:spLocks noEditPoints="1"/>
            </p:cNvSpPr>
            <p:nvPr/>
          </p:nvSpPr>
          <p:spPr bwMode="auto">
            <a:xfrm>
              <a:off x="8394700" y="4610101"/>
              <a:ext cx="131763" cy="123825"/>
            </a:xfrm>
            <a:custGeom>
              <a:avLst/>
              <a:gdLst>
                <a:gd name="T0" fmla="*/ 7 w 68"/>
                <a:gd name="T1" fmla="*/ 64 h 64"/>
                <a:gd name="T2" fmla="*/ 7 w 68"/>
                <a:gd name="T3" fmla="*/ 64 h 64"/>
                <a:gd name="T4" fmla="*/ 3 w 68"/>
                <a:gd name="T5" fmla="*/ 64 h 64"/>
                <a:gd name="T6" fmla="*/ 0 w 68"/>
                <a:gd name="T7" fmla="*/ 63 h 64"/>
                <a:gd name="T8" fmla="*/ 0 w 68"/>
                <a:gd name="T9" fmla="*/ 59 h 64"/>
                <a:gd name="T10" fmla="*/ 25 w 68"/>
                <a:gd name="T11" fmla="*/ 14 h 64"/>
                <a:gd name="T12" fmla="*/ 61 w 68"/>
                <a:gd name="T13" fmla="*/ 0 h 64"/>
                <a:gd name="T14" fmla="*/ 64 w 68"/>
                <a:gd name="T15" fmla="*/ 0 h 64"/>
                <a:gd name="T16" fmla="*/ 67 w 68"/>
                <a:gd name="T17" fmla="*/ 2 h 64"/>
                <a:gd name="T18" fmla="*/ 68 w 68"/>
                <a:gd name="T19" fmla="*/ 5 h 64"/>
                <a:gd name="T20" fmla="*/ 47 w 68"/>
                <a:gd name="T21" fmla="*/ 51 h 64"/>
                <a:gd name="T22" fmla="*/ 7 w 68"/>
                <a:gd name="T23" fmla="*/ 64 h 64"/>
                <a:gd name="T24" fmla="*/ 59 w 68"/>
                <a:gd name="T25" fmla="*/ 8 h 64"/>
                <a:gd name="T26" fmla="*/ 31 w 68"/>
                <a:gd name="T27" fmla="*/ 19 h 64"/>
                <a:gd name="T28" fmla="*/ 9 w 68"/>
                <a:gd name="T29" fmla="*/ 56 h 64"/>
                <a:gd name="T30" fmla="*/ 41 w 68"/>
                <a:gd name="T31" fmla="*/ 46 h 64"/>
                <a:gd name="T32" fmla="*/ 59 w 68"/>
                <a:gd name="T33" fmla="*/ 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" h="64">
                  <a:moveTo>
                    <a:pt x="7" y="64"/>
                  </a:moveTo>
                  <a:cubicBezTo>
                    <a:pt x="7" y="64"/>
                    <a:pt x="7" y="64"/>
                    <a:pt x="7" y="64"/>
                  </a:cubicBezTo>
                  <a:cubicBezTo>
                    <a:pt x="5" y="64"/>
                    <a:pt x="3" y="64"/>
                    <a:pt x="3" y="64"/>
                  </a:cubicBezTo>
                  <a:cubicBezTo>
                    <a:pt x="2" y="64"/>
                    <a:pt x="1" y="64"/>
                    <a:pt x="0" y="63"/>
                  </a:cubicBezTo>
                  <a:cubicBezTo>
                    <a:pt x="0" y="62"/>
                    <a:pt x="0" y="60"/>
                    <a:pt x="0" y="59"/>
                  </a:cubicBezTo>
                  <a:cubicBezTo>
                    <a:pt x="0" y="58"/>
                    <a:pt x="10" y="28"/>
                    <a:pt x="25" y="14"/>
                  </a:cubicBezTo>
                  <a:cubicBezTo>
                    <a:pt x="37" y="2"/>
                    <a:pt x="54" y="0"/>
                    <a:pt x="61" y="0"/>
                  </a:cubicBezTo>
                  <a:cubicBezTo>
                    <a:pt x="63" y="0"/>
                    <a:pt x="64" y="0"/>
                    <a:pt x="64" y="0"/>
                  </a:cubicBezTo>
                  <a:cubicBezTo>
                    <a:pt x="65" y="0"/>
                    <a:pt x="66" y="1"/>
                    <a:pt x="67" y="2"/>
                  </a:cubicBezTo>
                  <a:cubicBezTo>
                    <a:pt x="68" y="3"/>
                    <a:pt x="68" y="4"/>
                    <a:pt x="68" y="5"/>
                  </a:cubicBezTo>
                  <a:cubicBezTo>
                    <a:pt x="67" y="6"/>
                    <a:pt x="61" y="36"/>
                    <a:pt x="47" y="51"/>
                  </a:cubicBezTo>
                  <a:cubicBezTo>
                    <a:pt x="35" y="63"/>
                    <a:pt x="15" y="64"/>
                    <a:pt x="7" y="64"/>
                  </a:cubicBezTo>
                  <a:close/>
                  <a:moveTo>
                    <a:pt x="59" y="8"/>
                  </a:moveTo>
                  <a:cubicBezTo>
                    <a:pt x="52" y="9"/>
                    <a:pt x="40" y="10"/>
                    <a:pt x="31" y="19"/>
                  </a:cubicBezTo>
                  <a:cubicBezTo>
                    <a:pt x="21" y="29"/>
                    <a:pt x="13" y="47"/>
                    <a:pt x="9" y="56"/>
                  </a:cubicBezTo>
                  <a:cubicBezTo>
                    <a:pt x="17" y="56"/>
                    <a:pt x="32" y="55"/>
                    <a:pt x="41" y="46"/>
                  </a:cubicBezTo>
                  <a:cubicBezTo>
                    <a:pt x="51" y="36"/>
                    <a:pt x="57" y="17"/>
                    <a:pt x="5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0" name="Freeform 469"/>
            <p:cNvSpPr>
              <a:spLocks/>
            </p:cNvSpPr>
            <p:nvPr/>
          </p:nvSpPr>
          <p:spPr bwMode="auto">
            <a:xfrm>
              <a:off x="8154988" y="4570413"/>
              <a:ext cx="185738" cy="295275"/>
            </a:xfrm>
            <a:custGeom>
              <a:avLst/>
              <a:gdLst>
                <a:gd name="T0" fmla="*/ 96 w 96"/>
                <a:gd name="T1" fmla="*/ 152 h 152"/>
                <a:gd name="T2" fmla="*/ 44 w 96"/>
                <a:gd name="T3" fmla="*/ 152 h 152"/>
                <a:gd name="T4" fmla="*/ 44 w 96"/>
                <a:gd name="T5" fmla="*/ 140 h 152"/>
                <a:gd name="T6" fmla="*/ 37 w 96"/>
                <a:gd name="T7" fmla="*/ 127 h 152"/>
                <a:gd name="T8" fmla="*/ 9 w 96"/>
                <a:gd name="T9" fmla="*/ 99 h 152"/>
                <a:gd name="T10" fmla="*/ 0 w 96"/>
                <a:gd name="T11" fmla="*/ 80 h 152"/>
                <a:gd name="T12" fmla="*/ 0 w 96"/>
                <a:gd name="T13" fmla="*/ 16 h 152"/>
                <a:gd name="T14" fmla="*/ 16 w 96"/>
                <a:gd name="T15" fmla="*/ 0 h 152"/>
                <a:gd name="T16" fmla="*/ 32 w 96"/>
                <a:gd name="T17" fmla="*/ 16 h 152"/>
                <a:gd name="T18" fmla="*/ 32 w 96"/>
                <a:gd name="T19" fmla="*/ 48 h 152"/>
                <a:gd name="T20" fmla="*/ 24 w 96"/>
                <a:gd name="T21" fmla="*/ 48 h 152"/>
                <a:gd name="T22" fmla="*/ 24 w 96"/>
                <a:gd name="T23" fmla="*/ 16 h 152"/>
                <a:gd name="T24" fmla="*/ 16 w 96"/>
                <a:gd name="T25" fmla="*/ 8 h 152"/>
                <a:gd name="T26" fmla="*/ 8 w 96"/>
                <a:gd name="T27" fmla="*/ 16 h 152"/>
                <a:gd name="T28" fmla="*/ 8 w 96"/>
                <a:gd name="T29" fmla="*/ 80 h 152"/>
                <a:gd name="T30" fmla="*/ 15 w 96"/>
                <a:gd name="T31" fmla="*/ 94 h 152"/>
                <a:gd name="T32" fmla="*/ 43 w 96"/>
                <a:gd name="T33" fmla="*/ 122 h 152"/>
                <a:gd name="T34" fmla="*/ 52 w 96"/>
                <a:gd name="T35" fmla="*/ 140 h 152"/>
                <a:gd name="T36" fmla="*/ 52 w 96"/>
                <a:gd name="T37" fmla="*/ 144 h 152"/>
                <a:gd name="T38" fmla="*/ 88 w 96"/>
                <a:gd name="T39" fmla="*/ 144 h 152"/>
                <a:gd name="T40" fmla="*/ 88 w 96"/>
                <a:gd name="T41" fmla="*/ 116 h 152"/>
                <a:gd name="T42" fmla="*/ 81 w 96"/>
                <a:gd name="T43" fmla="*/ 99 h 152"/>
                <a:gd name="T44" fmla="*/ 42 w 96"/>
                <a:gd name="T45" fmla="*/ 60 h 152"/>
                <a:gd name="T46" fmla="*/ 40 w 96"/>
                <a:gd name="T47" fmla="*/ 60 h 152"/>
                <a:gd name="T48" fmla="*/ 32 w 96"/>
                <a:gd name="T49" fmla="*/ 68 h 152"/>
                <a:gd name="T50" fmla="*/ 32 w 96"/>
                <a:gd name="T51" fmla="*/ 71 h 152"/>
                <a:gd name="T52" fmla="*/ 59 w 96"/>
                <a:gd name="T53" fmla="*/ 98 h 152"/>
                <a:gd name="T54" fmla="*/ 53 w 96"/>
                <a:gd name="T55" fmla="*/ 103 h 152"/>
                <a:gd name="T56" fmla="*/ 24 w 96"/>
                <a:gd name="T57" fmla="*/ 74 h 152"/>
                <a:gd name="T58" fmla="*/ 24 w 96"/>
                <a:gd name="T59" fmla="*/ 68 h 152"/>
                <a:gd name="T60" fmla="*/ 40 w 96"/>
                <a:gd name="T61" fmla="*/ 52 h 152"/>
                <a:gd name="T62" fmla="*/ 45 w 96"/>
                <a:gd name="T63" fmla="*/ 52 h 152"/>
                <a:gd name="T64" fmla="*/ 87 w 96"/>
                <a:gd name="T65" fmla="*/ 94 h 152"/>
                <a:gd name="T66" fmla="*/ 96 w 96"/>
                <a:gd name="T67" fmla="*/ 116 h 152"/>
                <a:gd name="T68" fmla="*/ 96 w 96"/>
                <a:gd name="T6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52">
                  <a:moveTo>
                    <a:pt x="96" y="152"/>
                  </a:moveTo>
                  <a:cubicBezTo>
                    <a:pt x="44" y="152"/>
                    <a:pt x="44" y="152"/>
                    <a:pt x="44" y="152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0"/>
                    <a:pt x="44" y="134"/>
                    <a:pt x="37" y="127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0" y="90"/>
                    <a:pt x="0" y="81"/>
                    <a:pt x="0" y="80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25" y="0"/>
                    <a:pt x="32" y="8"/>
                    <a:pt x="32" y="16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ubicBezTo>
                    <a:pt x="11" y="8"/>
                    <a:pt x="8" y="12"/>
                    <a:pt x="8" y="16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8" y="81"/>
                    <a:pt x="8" y="87"/>
                    <a:pt x="15" y="94"/>
                  </a:cubicBezTo>
                  <a:cubicBezTo>
                    <a:pt x="43" y="122"/>
                    <a:pt x="43" y="122"/>
                    <a:pt x="43" y="122"/>
                  </a:cubicBezTo>
                  <a:cubicBezTo>
                    <a:pt x="52" y="131"/>
                    <a:pt x="52" y="140"/>
                    <a:pt x="52" y="140"/>
                  </a:cubicBezTo>
                  <a:cubicBezTo>
                    <a:pt x="52" y="144"/>
                    <a:pt x="52" y="144"/>
                    <a:pt x="5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8" y="106"/>
                    <a:pt x="81" y="99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35" y="60"/>
                    <a:pt x="32" y="64"/>
                    <a:pt x="32" y="68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4" y="60"/>
                    <a:pt x="31" y="52"/>
                    <a:pt x="40" y="52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96" y="103"/>
                    <a:pt x="96" y="116"/>
                    <a:pt x="96" y="116"/>
                  </a:cubicBezTo>
                  <a:lnTo>
                    <a:pt x="96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1" name="Freeform 470"/>
            <p:cNvSpPr>
              <a:spLocks/>
            </p:cNvSpPr>
            <p:nvPr/>
          </p:nvSpPr>
          <p:spPr bwMode="auto">
            <a:xfrm>
              <a:off x="8464550" y="4570413"/>
              <a:ext cx="185738" cy="295275"/>
            </a:xfrm>
            <a:custGeom>
              <a:avLst/>
              <a:gdLst>
                <a:gd name="T0" fmla="*/ 52 w 96"/>
                <a:gd name="T1" fmla="*/ 152 h 152"/>
                <a:gd name="T2" fmla="*/ 0 w 96"/>
                <a:gd name="T3" fmla="*/ 152 h 152"/>
                <a:gd name="T4" fmla="*/ 0 w 96"/>
                <a:gd name="T5" fmla="*/ 116 h 152"/>
                <a:gd name="T6" fmla="*/ 9 w 96"/>
                <a:gd name="T7" fmla="*/ 94 h 152"/>
                <a:gd name="T8" fmla="*/ 50 w 96"/>
                <a:gd name="T9" fmla="*/ 52 h 152"/>
                <a:gd name="T10" fmla="*/ 56 w 96"/>
                <a:gd name="T11" fmla="*/ 52 h 152"/>
                <a:gd name="T12" fmla="*/ 72 w 96"/>
                <a:gd name="T13" fmla="*/ 68 h 152"/>
                <a:gd name="T14" fmla="*/ 72 w 96"/>
                <a:gd name="T15" fmla="*/ 74 h 152"/>
                <a:gd name="T16" fmla="*/ 43 w 96"/>
                <a:gd name="T17" fmla="*/ 103 h 152"/>
                <a:gd name="T18" fmla="*/ 37 w 96"/>
                <a:gd name="T19" fmla="*/ 98 h 152"/>
                <a:gd name="T20" fmla="*/ 64 w 96"/>
                <a:gd name="T21" fmla="*/ 71 h 152"/>
                <a:gd name="T22" fmla="*/ 64 w 96"/>
                <a:gd name="T23" fmla="*/ 68 h 152"/>
                <a:gd name="T24" fmla="*/ 56 w 96"/>
                <a:gd name="T25" fmla="*/ 60 h 152"/>
                <a:gd name="T26" fmla="*/ 53 w 96"/>
                <a:gd name="T27" fmla="*/ 60 h 152"/>
                <a:gd name="T28" fmla="*/ 15 w 96"/>
                <a:gd name="T29" fmla="*/ 99 h 152"/>
                <a:gd name="T30" fmla="*/ 8 w 96"/>
                <a:gd name="T31" fmla="*/ 116 h 152"/>
                <a:gd name="T32" fmla="*/ 8 w 96"/>
                <a:gd name="T33" fmla="*/ 144 h 152"/>
                <a:gd name="T34" fmla="*/ 44 w 96"/>
                <a:gd name="T35" fmla="*/ 144 h 152"/>
                <a:gd name="T36" fmla="*/ 44 w 96"/>
                <a:gd name="T37" fmla="*/ 140 h 152"/>
                <a:gd name="T38" fmla="*/ 53 w 96"/>
                <a:gd name="T39" fmla="*/ 122 h 152"/>
                <a:gd name="T40" fmla="*/ 81 w 96"/>
                <a:gd name="T41" fmla="*/ 94 h 152"/>
                <a:gd name="T42" fmla="*/ 88 w 96"/>
                <a:gd name="T43" fmla="*/ 80 h 152"/>
                <a:gd name="T44" fmla="*/ 88 w 96"/>
                <a:gd name="T45" fmla="*/ 16 h 152"/>
                <a:gd name="T46" fmla="*/ 80 w 96"/>
                <a:gd name="T47" fmla="*/ 8 h 152"/>
                <a:gd name="T48" fmla="*/ 72 w 96"/>
                <a:gd name="T49" fmla="*/ 16 h 152"/>
                <a:gd name="T50" fmla="*/ 72 w 96"/>
                <a:gd name="T51" fmla="*/ 48 h 152"/>
                <a:gd name="T52" fmla="*/ 64 w 96"/>
                <a:gd name="T53" fmla="*/ 48 h 152"/>
                <a:gd name="T54" fmla="*/ 64 w 96"/>
                <a:gd name="T55" fmla="*/ 16 h 152"/>
                <a:gd name="T56" fmla="*/ 80 w 96"/>
                <a:gd name="T57" fmla="*/ 0 h 152"/>
                <a:gd name="T58" fmla="*/ 96 w 96"/>
                <a:gd name="T59" fmla="*/ 16 h 152"/>
                <a:gd name="T60" fmla="*/ 96 w 96"/>
                <a:gd name="T61" fmla="*/ 80 h 152"/>
                <a:gd name="T62" fmla="*/ 87 w 96"/>
                <a:gd name="T63" fmla="*/ 99 h 152"/>
                <a:gd name="T64" fmla="*/ 59 w 96"/>
                <a:gd name="T65" fmla="*/ 127 h 152"/>
                <a:gd name="T66" fmla="*/ 52 w 96"/>
                <a:gd name="T67" fmla="*/ 140 h 152"/>
                <a:gd name="T68" fmla="*/ 52 w 96"/>
                <a:gd name="T6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6" h="152">
                  <a:moveTo>
                    <a:pt x="52" y="152"/>
                  </a:moveTo>
                  <a:cubicBezTo>
                    <a:pt x="0" y="152"/>
                    <a:pt x="0" y="152"/>
                    <a:pt x="0" y="152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03"/>
                    <a:pt x="9" y="9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65" y="52"/>
                    <a:pt x="72" y="60"/>
                    <a:pt x="72" y="68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37" y="98"/>
                    <a:pt x="37" y="98"/>
                    <a:pt x="37" y="98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4"/>
                    <a:pt x="60" y="60"/>
                    <a:pt x="56" y="60"/>
                  </a:cubicBezTo>
                  <a:cubicBezTo>
                    <a:pt x="53" y="60"/>
                    <a:pt x="53" y="60"/>
                    <a:pt x="53" y="6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8" y="106"/>
                    <a:pt x="8" y="116"/>
                    <a:pt x="8" y="116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44" y="144"/>
                    <a:pt x="44" y="144"/>
                    <a:pt x="44" y="144"/>
                  </a:cubicBezTo>
                  <a:cubicBezTo>
                    <a:pt x="44" y="140"/>
                    <a:pt x="44" y="140"/>
                    <a:pt x="44" y="140"/>
                  </a:cubicBezTo>
                  <a:cubicBezTo>
                    <a:pt x="44" y="140"/>
                    <a:pt x="44" y="131"/>
                    <a:pt x="53" y="122"/>
                  </a:cubicBezTo>
                  <a:cubicBezTo>
                    <a:pt x="81" y="94"/>
                    <a:pt x="81" y="94"/>
                    <a:pt x="81" y="94"/>
                  </a:cubicBezTo>
                  <a:cubicBezTo>
                    <a:pt x="88" y="87"/>
                    <a:pt x="88" y="81"/>
                    <a:pt x="88" y="80"/>
                  </a:cubicBezTo>
                  <a:cubicBezTo>
                    <a:pt x="88" y="16"/>
                    <a:pt x="88" y="16"/>
                    <a:pt x="88" y="16"/>
                  </a:cubicBezTo>
                  <a:cubicBezTo>
                    <a:pt x="88" y="12"/>
                    <a:pt x="84" y="8"/>
                    <a:pt x="80" y="8"/>
                  </a:cubicBezTo>
                  <a:cubicBezTo>
                    <a:pt x="75" y="8"/>
                    <a:pt x="72" y="12"/>
                    <a:pt x="72" y="16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64" y="48"/>
                    <a:pt x="64" y="48"/>
                    <a:pt x="64" y="48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8"/>
                    <a:pt x="71" y="0"/>
                    <a:pt x="80" y="0"/>
                  </a:cubicBezTo>
                  <a:cubicBezTo>
                    <a:pt x="89" y="0"/>
                    <a:pt x="96" y="8"/>
                    <a:pt x="96" y="16"/>
                  </a:cubicBezTo>
                  <a:cubicBezTo>
                    <a:pt x="96" y="80"/>
                    <a:pt x="96" y="80"/>
                    <a:pt x="96" y="80"/>
                  </a:cubicBezTo>
                  <a:cubicBezTo>
                    <a:pt x="96" y="81"/>
                    <a:pt x="96" y="90"/>
                    <a:pt x="87" y="99"/>
                  </a:cubicBezTo>
                  <a:cubicBezTo>
                    <a:pt x="59" y="127"/>
                    <a:pt x="59" y="127"/>
                    <a:pt x="59" y="127"/>
                  </a:cubicBezTo>
                  <a:cubicBezTo>
                    <a:pt x="52" y="134"/>
                    <a:pt x="52" y="140"/>
                    <a:pt x="52" y="140"/>
                  </a:cubicBezTo>
                  <a:lnTo>
                    <a:pt x="52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42" name="Freeform 471"/>
            <p:cNvSpPr>
              <a:spLocks/>
            </p:cNvSpPr>
            <p:nvPr/>
          </p:nvSpPr>
          <p:spPr bwMode="auto">
            <a:xfrm>
              <a:off x="8448675" y="4849813"/>
              <a:ext cx="131763" cy="61913"/>
            </a:xfrm>
            <a:custGeom>
              <a:avLst/>
              <a:gdLst>
                <a:gd name="T0" fmla="*/ 68 w 68"/>
                <a:gd name="T1" fmla="*/ 32 h 32"/>
                <a:gd name="T2" fmla="*/ 60 w 68"/>
                <a:gd name="T3" fmla="*/ 32 h 32"/>
                <a:gd name="T4" fmla="*/ 60 w 68"/>
                <a:gd name="T5" fmla="*/ 8 h 32"/>
                <a:gd name="T6" fmla="*/ 8 w 68"/>
                <a:gd name="T7" fmla="*/ 8 h 32"/>
                <a:gd name="T8" fmla="*/ 8 w 68"/>
                <a:gd name="T9" fmla="*/ 32 h 32"/>
                <a:gd name="T10" fmla="*/ 0 w 68"/>
                <a:gd name="T11" fmla="*/ 32 h 32"/>
                <a:gd name="T12" fmla="*/ 0 w 68"/>
                <a:gd name="T13" fmla="*/ 8 h 32"/>
                <a:gd name="T14" fmla="*/ 8 w 68"/>
                <a:gd name="T15" fmla="*/ 0 h 32"/>
                <a:gd name="T16" fmla="*/ 60 w 68"/>
                <a:gd name="T17" fmla="*/ 0 h 32"/>
                <a:gd name="T18" fmla="*/ 68 w 68"/>
                <a:gd name="T19" fmla="*/ 8 h 32"/>
                <a:gd name="T20" fmla="*/ 68 w 68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2">
                  <a:moveTo>
                    <a:pt x="68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lnTo>
                    <a:pt x="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  <p:sp>
          <p:nvSpPr>
            <p:cNvPr id="54" name="Freeform 472"/>
            <p:cNvSpPr>
              <a:spLocks/>
            </p:cNvSpPr>
            <p:nvPr/>
          </p:nvSpPr>
          <p:spPr bwMode="auto">
            <a:xfrm>
              <a:off x="8224838" y="4849813"/>
              <a:ext cx="131763" cy="61913"/>
            </a:xfrm>
            <a:custGeom>
              <a:avLst/>
              <a:gdLst>
                <a:gd name="T0" fmla="*/ 68 w 68"/>
                <a:gd name="T1" fmla="*/ 32 h 32"/>
                <a:gd name="T2" fmla="*/ 60 w 68"/>
                <a:gd name="T3" fmla="*/ 32 h 32"/>
                <a:gd name="T4" fmla="*/ 60 w 68"/>
                <a:gd name="T5" fmla="*/ 8 h 32"/>
                <a:gd name="T6" fmla="*/ 8 w 68"/>
                <a:gd name="T7" fmla="*/ 8 h 32"/>
                <a:gd name="T8" fmla="*/ 8 w 68"/>
                <a:gd name="T9" fmla="*/ 32 h 32"/>
                <a:gd name="T10" fmla="*/ 0 w 68"/>
                <a:gd name="T11" fmla="*/ 32 h 32"/>
                <a:gd name="T12" fmla="*/ 0 w 68"/>
                <a:gd name="T13" fmla="*/ 8 h 32"/>
                <a:gd name="T14" fmla="*/ 8 w 68"/>
                <a:gd name="T15" fmla="*/ 0 h 32"/>
                <a:gd name="T16" fmla="*/ 60 w 68"/>
                <a:gd name="T17" fmla="*/ 0 h 32"/>
                <a:gd name="T18" fmla="*/ 68 w 68"/>
                <a:gd name="T19" fmla="*/ 8 h 32"/>
                <a:gd name="T20" fmla="*/ 68 w 68"/>
                <a:gd name="T2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8" h="32">
                  <a:moveTo>
                    <a:pt x="68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3" y="0"/>
                    <a:pt x="8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4" y="0"/>
                    <a:pt x="68" y="4"/>
                    <a:pt x="68" y="8"/>
                  </a:cubicBezTo>
                  <a:lnTo>
                    <a:pt x="6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6117" tIns="38058" rIns="76117" bIns="38058" numCol="1" rtlCol="0" anchor="t" anchorCtr="0" compatLnSpc="1">
              <a:prstTxWarp prst="textNoShape">
                <a:avLst/>
              </a:prstTxWarp>
            </a:bodyPr>
            <a:lstStyle/>
            <a:p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endParaRPr lang="ru-RU" sz="1498">
                <a:solidFill>
                  <a:srgbClr val="000000"/>
                </a:solidFill>
                <a:latin typeface="Calibri" panose="020F0502020204030204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607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77" y="765719"/>
            <a:ext cx="7491797" cy="717186"/>
          </a:xfrm>
        </p:spPr>
        <p:txBody>
          <a:bodyPr rtlCol="0"/>
          <a:lstStyle/>
          <a:p>
            <a:pPr rtl="0"/>
            <a:r>
              <a:rPr lang="hu-HU" dirty="0" smtClean="0"/>
              <a:t>Keret jellegű hitele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7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6" name="Lekerekített téglalap 5"/>
          <p:cNvSpPr/>
          <p:nvPr/>
        </p:nvSpPr>
        <p:spPr>
          <a:xfrm>
            <a:off x="2800519" y="1548813"/>
            <a:ext cx="2053713" cy="48111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Kártya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" name="Lekerekített téglalap 12"/>
          <p:cNvSpPr/>
          <p:nvPr/>
        </p:nvSpPr>
        <p:spPr>
          <a:xfrm>
            <a:off x="5153433" y="1544775"/>
            <a:ext cx="2053713" cy="481115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Kártya Plus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2800519" y="2123279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 - 1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2800519" y="2690564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3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2800519" y="3345242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8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2800519" y="3930855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5,1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5153433" y="2123279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1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5153433" y="2690564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2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5153433" y="3345242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5153433" y="3930855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1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2800519" y="4501187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7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5153433" y="4501187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8" name="Lekerekített téglalap 27"/>
          <p:cNvSpPr/>
          <p:nvPr/>
        </p:nvSpPr>
        <p:spPr>
          <a:xfrm>
            <a:off x="143617" y="2123279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Hitelösszeg (MM HUF)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9" name="Lekerekített téglalap 28"/>
          <p:cNvSpPr/>
          <p:nvPr/>
        </p:nvSpPr>
        <p:spPr>
          <a:xfrm>
            <a:off x="143617" y="2673808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Futamidő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1" name="Lekerekített téglalap 30"/>
          <p:cNvSpPr/>
          <p:nvPr/>
        </p:nvSpPr>
        <p:spPr>
          <a:xfrm>
            <a:off x="143617" y="3304326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Garancia mértéke</a:t>
            </a:r>
          </a:p>
        </p:txBody>
      </p:sp>
      <p:sp>
        <p:nvSpPr>
          <p:cNvPr id="32" name="Lekerekített téglalap 31"/>
          <p:cNvSpPr/>
          <p:nvPr/>
        </p:nvSpPr>
        <p:spPr>
          <a:xfrm>
            <a:off x="143617" y="3906468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kamat</a:t>
            </a:r>
          </a:p>
        </p:txBody>
      </p:sp>
      <p:sp>
        <p:nvSpPr>
          <p:cNvPr id="37" name="Lekerekített téglalap 36"/>
          <p:cNvSpPr/>
          <p:nvPr/>
        </p:nvSpPr>
        <p:spPr>
          <a:xfrm>
            <a:off x="143617" y="4504142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garanciadíj</a:t>
            </a:r>
          </a:p>
        </p:txBody>
      </p:sp>
    </p:spTree>
    <p:extLst>
      <p:ext uri="{BB962C8B-B14F-4D97-AF65-F5344CB8AC3E}">
        <p14:creationId xmlns:p14="http://schemas.microsoft.com/office/powerpoint/2010/main" val="302494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77" y="765719"/>
            <a:ext cx="7491797" cy="717186"/>
          </a:xfrm>
        </p:spPr>
        <p:txBody>
          <a:bodyPr rtlCol="0"/>
          <a:lstStyle/>
          <a:p>
            <a:pPr rtl="0"/>
            <a:r>
              <a:rPr lang="hu-HU" dirty="0" smtClean="0"/>
              <a:t>Forgóeszköz hitelek</a:t>
            </a:r>
            <a:endParaRPr lang="en-US" dirty="0"/>
          </a:p>
        </p:txBody>
      </p:sp>
      <p:sp>
        <p:nvSpPr>
          <p:cNvPr id="6" name="Lekerekített téglalap 5"/>
          <p:cNvSpPr/>
          <p:nvPr/>
        </p:nvSpPr>
        <p:spPr>
          <a:xfrm>
            <a:off x="1890948" y="1572461"/>
            <a:ext cx="1998661" cy="48111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Forgóeszközhitel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" name="Lekerekített téglalap 12"/>
          <p:cNvSpPr/>
          <p:nvPr/>
        </p:nvSpPr>
        <p:spPr>
          <a:xfrm>
            <a:off x="3968598" y="1572461"/>
            <a:ext cx="1998661" cy="481115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332" dirty="0">
                <a:solidFill>
                  <a:srgbClr val="FFFFFF"/>
                </a:solidFill>
                <a:latin typeface="Calibri" panose="020F0502020204030204"/>
              </a:rPr>
              <a:t>Széchenyi Munkahelymegtartó hitel</a:t>
            </a:r>
            <a:endParaRPr lang="en-US" sz="1332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" name="Lekerekített téglalap 13"/>
          <p:cNvSpPr/>
          <p:nvPr/>
        </p:nvSpPr>
        <p:spPr>
          <a:xfrm>
            <a:off x="6046247" y="1576499"/>
            <a:ext cx="1998661" cy="48111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Likviditási hitel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1890948" y="2146927"/>
            <a:ext cx="1998661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 - 1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1890948" y="2671129"/>
            <a:ext cx="1998661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3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1890948" y="3315497"/>
            <a:ext cx="1998661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8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1890948" y="3837528"/>
            <a:ext cx="1998661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3,1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3968598" y="2150965"/>
            <a:ext cx="1998661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75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3968598" y="2675167"/>
            <a:ext cx="1998661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2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3968598" y="3319535"/>
            <a:ext cx="1998661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3968598" y="3841566"/>
            <a:ext cx="1998661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1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6046247" y="2150965"/>
            <a:ext cx="1998661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25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6046247" y="2675167"/>
            <a:ext cx="1998661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3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6046247" y="3319535"/>
            <a:ext cx="1998661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6046247" y="3841566"/>
            <a:ext cx="1998661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2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5" name="Téglalap 34"/>
          <p:cNvSpPr/>
          <p:nvPr/>
        </p:nvSpPr>
        <p:spPr>
          <a:xfrm>
            <a:off x="1890948" y="4364778"/>
            <a:ext cx="1998661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8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3968598" y="4368816"/>
            <a:ext cx="1998661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6046247" y="4368816"/>
            <a:ext cx="1998661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8" name="Lekerekített téglalap 37"/>
          <p:cNvSpPr/>
          <p:nvPr/>
        </p:nvSpPr>
        <p:spPr>
          <a:xfrm>
            <a:off x="8123896" y="1572461"/>
            <a:ext cx="1998661" cy="481115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332" dirty="0">
                <a:solidFill>
                  <a:srgbClr val="FFFFFF"/>
                </a:solidFill>
                <a:latin typeface="Calibri" panose="020F0502020204030204"/>
              </a:rPr>
              <a:t>NHP Hajrá</a:t>
            </a:r>
            <a:endParaRPr lang="en-US" sz="1332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9" name="Téglalap 38"/>
          <p:cNvSpPr/>
          <p:nvPr/>
        </p:nvSpPr>
        <p:spPr>
          <a:xfrm>
            <a:off x="8123896" y="2146927"/>
            <a:ext cx="1998661" cy="47393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5 0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0" name="Téglalap 39"/>
          <p:cNvSpPr/>
          <p:nvPr/>
        </p:nvSpPr>
        <p:spPr>
          <a:xfrm>
            <a:off x="8123896" y="2671129"/>
            <a:ext cx="1998661" cy="47393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3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2" name="Téglalap 41"/>
          <p:cNvSpPr/>
          <p:nvPr/>
        </p:nvSpPr>
        <p:spPr>
          <a:xfrm>
            <a:off x="8123896" y="3315497"/>
            <a:ext cx="1998661" cy="47393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3" name="Téglalap 42"/>
          <p:cNvSpPr/>
          <p:nvPr/>
        </p:nvSpPr>
        <p:spPr>
          <a:xfrm>
            <a:off x="8123896" y="3837528"/>
            <a:ext cx="1998661" cy="47393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2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5" name="Téglalap 44"/>
          <p:cNvSpPr/>
          <p:nvPr/>
        </p:nvSpPr>
        <p:spPr>
          <a:xfrm>
            <a:off x="8123896" y="4364778"/>
            <a:ext cx="1998661" cy="47393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6" name="Lekerekített téglalap 45"/>
          <p:cNvSpPr/>
          <p:nvPr/>
        </p:nvSpPr>
        <p:spPr>
          <a:xfrm>
            <a:off x="71813" y="2152001"/>
            <a:ext cx="1747331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Hitelösszeg (MM HUF)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7" name="Lekerekített téglalap 46"/>
          <p:cNvSpPr/>
          <p:nvPr/>
        </p:nvSpPr>
        <p:spPr>
          <a:xfrm>
            <a:off x="71813" y="2659447"/>
            <a:ext cx="1747331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Futamidő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49" name="Lekerekített téglalap 48"/>
          <p:cNvSpPr/>
          <p:nvPr/>
        </p:nvSpPr>
        <p:spPr>
          <a:xfrm>
            <a:off x="71813" y="3279656"/>
            <a:ext cx="1747331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Garancia mértéke</a:t>
            </a:r>
          </a:p>
        </p:txBody>
      </p:sp>
      <p:sp>
        <p:nvSpPr>
          <p:cNvPr id="50" name="Lekerekített téglalap 49"/>
          <p:cNvSpPr/>
          <p:nvPr/>
        </p:nvSpPr>
        <p:spPr>
          <a:xfrm>
            <a:off x="71813" y="3818215"/>
            <a:ext cx="1747331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kamat</a:t>
            </a:r>
          </a:p>
        </p:txBody>
      </p:sp>
      <p:sp>
        <p:nvSpPr>
          <p:cNvPr id="52" name="Lekerekített téglalap 51"/>
          <p:cNvSpPr/>
          <p:nvPr/>
        </p:nvSpPr>
        <p:spPr>
          <a:xfrm>
            <a:off x="71813" y="4372807"/>
            <a:ext cx="1747331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garanciadíj</a:t>
            </a:r>
          </a:p>
        </p:txBody>
      </p:sp>
    </p:spTree>
    <p:extLst>
      <p:ext uri="{BB962C8B-B14F-4D97-AF65-F5344CB8AC3E}">
        <p14:creationId xmlns:p14="http://schemas.microsoft.com/office/powerpoint/2010/main" val="2684434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77" y="765719"/>
            <a:ext cx="7491797" cy="717186"/>
          </a:xfrm>
        </p:spPr>
        <p:txBody>
          <a:bodyPr rtlCol="0"/>
          <a:lstStyle/>
          <a:p>
            <a:pPr rtl="0"/>
            <a:r>
              <a:rPr lang="hu-HU" dirty="0" smtClean="0"/>
              <a:t>Beruházási hitele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4"/>
          </p:nvPr>
        </p:nvSpPr>
        <p:spPr/>
        <p:txBody>
          <a:bodyPr/>
          <a:lstStyle/>
          <a:p>
            <a:pPr defTabSz="761147" fontAlgn="auto">
              <a:spcBef>
                <a:spcPts val="0"/>
              </a:spcBef>
              <a:spcAft>
                <a:spcPts val="0"/>
              </a:spcAft>
            </a:pPr>
            <a:fld id="{072AA81F-3BE1-42F8-A306-480965D678F0}" type="slidenum">
              <a:rPr lang="de-DE">
                <a:solidFill>
                  <a:srgbClr val="000000">
                    <a:tint val="75000"/>
                  </a:srgbClr>
                </a:solidFill>
                <a:latin typeface="Calibri" panose="020F0502020204030204"/>
                <a:cs typeface="+mn-cs"/>
              </a:rPr>
              <a:pPr defTabSz="761147" fontAlgn="auto">
                <a:spcBef>
                  <a:spcPts val="0"/>
                </a:spcBef>
                <a:spcAft>
                  <a:spcPts val="0"/>
                </a:spcAft>
              </a:pPr>
              <a:t>39</a:t>
            </a:fld>
            <a:endParaRPr lang="de-DE" dirty="0">
              <a:solidFill>
                <a:srgbClr val="000000">
                  <a:tint val="75000"/>
                </a:srgbClr>
              </a:solidFill>
              <a:latin typeface="Calibri" panose="020F0502020204030204"/>
              <a:cs typeface="+mn-cs"/>
            </a:endParaRPr>
          </a:p>
        </p:txBody>
      </p:sp>
      <p:sp>
        <p:nvSpPr>
          <p:cNvPr id="5" name="Lekerekített téglalap 4"/>
          <p:cNvSpPr/>
          <p:nvPr/>
        </p:nvSpPr>
        <p:spPr>
          <a:xfrm>
            <a:off x="143617" y="2123279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Hitelösszeg (MM HUF)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7" name="Lekerekített téglalap 6"/>
          <p:cNvSpPr/>
          <p:nvPr/>
        </p:nvSpPr>
        <p:spPr>
          <a:xfrm>
            <a:off x="143617" y="2623545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Futamidő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" name="Lekerekített téglalap 8"/>
          <p:cNvSpPr/>
          <p:nvPr/>
        </p:nvSpPr>
        <p:spPr>
          <a:xfrm>
            <a:off x="143617" y="3154059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Garancia mértéke</a:t>
            </a:r>
          </a:p>
        </p:txBody>
      </p:sp>
      <p:sp>
        <p:nvSpPr>
          <p:cNvPr id="10" name="Lekerekített téglalap 9"/>
          <p:cNvSpPr/>
          <p:nvPr/>
        </p:nvSpPr>
        <p:spPr>
          <a:xfrm>
            <a:off x="143617" y="3692619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kamat</a:t>
            </a:r>
          </a:p>
        </p:txBody>
      </p:sp>
      <p:sp>
        <p:nvSpPr>
          <p:cNvPr id="6" name="Lekerekített téglalap 5"/>
          <p:cNvSpPr/>
          <p:nvPr/>
        </p:nvSpPr>
        <p:spPr>
          <a:xfrm>
            <a:off x="2800519" y="1548813"/>
            <a:ext cx="2053713" cy="48111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Beruházási Hitel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" name="Lekerekített téglalap 12"/>
          <p:cNvSpPr/>
          <p:nvPr/>
        </p:nvSpPr>
        <p:spPr>
          <a:xfrm>
            <a:off x="5153433" y="1544775"/>
            <a:ext cx="2053713" cy="481115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Széchenyi Beruházási Hitel Plus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4" name="Lekerekített téglalap 13"/>
          <p:cNvSpPr/>
          <p:nvPr/>
        </p:nvSpPr>
        <p:spPr>
          <a:xfrm>
            <a:off x="7506348" y="1548813"/>
            <a:ext cx="2053713" cy="48111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NHP Hajrá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2800519" y="2123279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 - 1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" name="Téglalap 15"/>
          <p:cNvSpPr/>
          <p:nvPr/>
        </p:nvSpPr>
        <p:spPr>
          <a:xfrm>
            <a:off x="2800519" y="2640301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0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8" name="Téglalap 17"/>
          <p:cNvSpPr/>
          <p:nvPr/>
        </p:nvSpPr>
        <p:spPr>
          <a:xfrm>
            <a:off x="2800519" y="3194975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8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9" name="Téglalap 18"/>
          <p:cNvSpPr/>
          <p:nvPr/>
        </p:nvSpPr>
        <p:spPr>
          <a:xfrm>
            <a:off x="2800519" y="3717006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2" name="Téglalap 21"/>
          <p:cNvSpPr/>
          <p:nvPr/>
        </p:nvSpPr>
        <p:spPr>
          <a:xfrm>
            <a:off x="5153433" y="2123279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1 0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5153433" y="2640301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6</a:t>
            </a: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5" name="Téglalap 24"/>
          <p:cNvSpPr/>
          <p:nvPr/>
        </p:nvSpPr>
        <p:spPr>
          <a:xfrm>
            <a:off x="5153433" y="3194975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6" name="Téglalap 25"/>
          <p:cNvSpPr/>
          <p:nvPr/>
        </p:nvSpPr>
        <p:spPr>
          <a:xfrm>
            <a:off x="5153433" y="3717006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8" name="Téglalap 27"/>
          <p:cNvSpPr/>
          <p:nvPr/>
        </p:nvSpPr>
        <p:spPr>
          <a:xfrm>
            <a:off x="7506348" y="2123279"/>
            <a:ext cx="2053713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- 5 000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9" name="Téglalap 28"/>
          <p:cNvSpPr/>
          <p:nvPr/>
        </p:nvSpPr>
        <p:spPr>
          <a:xfrm>
            <a:off x="7506348" y="2640301"/>
            <a:ext cx="2053713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6 év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1" name="Téglalap 30"/>
          <p:cNvSpPr/>
          <p:nvPr/>
        </p:nvSpPr>
        <p:spPr>
          <a:xfrm>
            <a:off x="7506348" y="3187795"/>
            <a:ext cx="2053713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9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2" name="Téglalap 31"/>
          <p:cNvSpPr/>
          <p:nvPr/>
        </p:nvSpPr>
        <p:spPr>
          <a:xfrm>
            <a:off x="7506348" y="3709826"/>
            <a:ext cx="2053713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2,5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4" name="Lekerekített téglalap 33"/>
          <p:cNvSpPr/>
          <p:nvPr/>
        </p:nvSpPr>
        <p:spPr>
          <a:xfrm>
            <a:off x="143617" y="4240030"/>
            <a:ext cx="2046532" cy="4739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Ügyfél által fizetett garanciadíj</a:t>
            </a:r>
          </a:p>
        </p:txBody>
      </p:sp>
      <p:sp>
        <p:nvSpPr>
          <p:cNvPr id="35" name="Téglalap 34"/>
          <p:cNvSpPr/>
          <p:nvPr/>
        </p:nvSpPr>
        <p:spPr>
          <a:xfrm>
            <a:off x="2800519" y="4237075"/>
            <a:ext cx="2053713" cy="473934"/>
          </a:xfrm>
          <a:prstGeom prst="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0,7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6" name="Téglalap 35"/>
          <p:cNvSpPr/>
          <p:nvPr/>
        </p:nvSpPr>
        <p:spPr>
          <a:xfrm>
            <a:off x="5153433" y="4237075"/>
            <a:ext cx="2053713" cy="473934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,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7" name="Téglalap 36"/>
          <p:cNvSpPr/>
          <p:nvPr/>
        </p:nvSpPr>
        <p:spPr>
          <a:xfrm>
            <a:off x="7506348" y="4229894"/>
            <a:ext cx="2053713" cy="4739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1147" fontAlgn="auto">
              <a:spcBef>
                <a:spcPts val="0"/>
              </a:spcBef>
              <a:spcAft>
                <a:spcPts val="0"/>
              </a:spcAft>
            </a:pPr>
            <a:r>
              <a:rPr lang="hu-HU" sz="1498" dirty="0">
                <a:solidFill>
                  <a:srgbClr val="FFFFFF"/>
                </a:solidFill>
                <a:latin typeface="Calibri" panose="020F0502020204030204"/>
              </a:rPr>
              <a:t>1,0%</a:t>
            </a:r>
            <a:endParaRPr lang="en-US" sz="1498" dirty="0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8796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754980"/>
            <a:ext cx="6028660" cy="479994"/>
          </a:xfrm>
        </p:spPr>
        <p:txBody>
          <a:bodyPr>
            <a:normAutofit/>
          </a:bodyPr>
          <a:lstStyle/>
          <a:p>
            <a:r>
              <a:rPr lang="hu-HU" sz="2300" b="1" u="sng" dirty="0">
                <a:solidFill>
                  <a:schemeClr val="accent2">
                    <a:lumMod val="75000"/>
                  </a:schemeClr>
                </a:solidFill>
                <a:ea typeface="ＭＳ Ｐゴシック" pitchFamily="34" charset="-128"/>
              </a:rPr>
              <a:t>A kölcsön árazása és folyósítási díj</a:t>
            </a:r>
            <a:endParaRPr lang="hu-HU" sz="2300" u="sng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0" y="1403498"/>
            <a:ext cx="7623544" cy="5497032"/>
          </a:xfrm>
        </p:spPr>
        <p:txBody>
          <a:bodyPr>
            <a:normAutofit/>
          </a:bodyPr>
          <a:lstStyle/>
          <a:p>
            <a:pPr lvl="0"/>
            <a:r>
              <a:rPr lang="hu-HU" b="1" u="sng" dirty="0" smtClean="0"/>
              <a:t>A </a:t>
            </a:r>
            <a:r>
              <a:rPr lang="hu-HU" b="1" u="sng" dirty="0"/>
              <a:t>kölcsön </a:t>
            </a:r>
            <a:r>
              <a:rPr lang="hu-HU" b="1" u="sng" dirty="0" smtClean="0"/>
              <a:t>kamata:</a:t>
            </a:r>
          </a:p>
          <a:p>
            <a:pPr lvl="1" hangingPunct="0"/>
            <a:r>
              <a:rPr lang="hu-HU" sz="1400" dirty="0"/>
              <a:t>A személyi kölcsön </a:t>
            </a:r>
            <a:r>
              <a:rPr lang="hu-HU" sz="1400" b="1" u="sng" dirty="0"/>
              <a:t>induló kamata 5,67% </a:t>
            </a:r>
            <a:r>
              <a:rPr lang="hu-HU" sz="1400" dirty="0"/>
              <a:t>(várhatóan a koronavírus vészhelyzet lejáratáig 2020.12.31-ig) a veszélyhelyzet lejáratát követően (várhatóan 2021.01.01.-től) a kölcsön kamata </a:t>
            </a:r>
            <a:r>
              <a:rPr lang="hu-HU" sz="1400" b="1" u="sng" dirty="0"/>
              <a:t>módosulni fog automatikusan 9,99%-</a:t>
            </a:r>
            <a:r>
              <a:rPr lang="hu-HU" sz="1400" b="1" u="sng" dirty="0" err="1" smtClean="0"/>
              <a:t>ra</a:t>
            </a:r>
            <a:endParaRPr lang="hu-HU" b="1" i="1" dirty="0"/>
          </a:p>
          <a:p>
            <a:r>
              <a:rPr lang="hu-HU" sz="1600" dirty="0"/>
              <a:t>A kölcsön igénylésekor az alábbi díjak nem kerülnek felszámítása, </a:t>
            </a:r>
            <a:r>
              <a:rPr lang="hu-HU" sz="1600" b="1" u="sng" dirty="0"/>
              <a:t>azaz 0 Ft</a:t>
            </a:r>
            <a:r>
              <a:rPr lang="hu-HU" sz="1600" dirty="0"/>
              <a:t>: </a:t>
            </a:r>
            <a:endParaRPr lang="hu-HU" sz="2000" dirty="0"/>
          </a:p>
          <a:p>
            <a:pPr lvl="1" hangingPunct="0"/>
            <a:r>
              <a:rPr lang="hu-HU" sz="1434" dirty="0"/>
              <a:t>folyósítási díj, </a:t>
            </a:r>
            <a:endParaRPr lang="hu-HU" sz="1834" dirty="0"/>
          </a:p>
          <a:p>
            <a:pPr lvl="1" hangingPunct="0"/>
            <a:r>
              <a:rPr lang="hu-HU" sz="1434" dirty="0"/>
              <a:t>hitelkiváltás esetén átutalási és könyvelési díj</a:t>
            </a:r>
            <a:endParaRPr lang="hu-HU" sz="1834" dirty="0"/>
          </a:p>
          <a:p>
            <a:pPr lvl="1" hangingPunct="0"/>
            <a:r>
              <a:rPr lang="hu-HU" sz="1434" dirty="0"/>
              <a:t>bankszámlavezetési díj</a:t>
            </a:r>
            <a:endParaRPr lang="hu-HU" sz="1834" dirty="0"/>
          </a:p>
          <a:p>
            <a:pPr lvl="1" hangingPunct="0"/>
            <a:r>
              <a:rPr lang="hu-HU" sz="1434" dirty="0"/>
              <a:t>bankkártya </a:t>
            </a:r>
            <a:r>
              <a:rPr lang="hu-HU" sz="1434" dirty="0" smtClean="0"/>
              <a:t>díj</a:t>
            </a:r>
          </a:p>
          <a:p>
            <a:pPr marL="285430" lvl="1" indent="-285430"/>
            <a:r>
              <a:rPr lang="hu-HU" sz="1600" dirty="0" smtClean="0"/>
              <a:t>A külföldi </a:t>
            </a:r>
            <a:r>
              <a:rPr lang="hu-HU" sz="1600" dirty="0"/>
              <a:t>és </a:t>
            </a:r>
            <a:r>
              <a:rPr lang="hu-HU" sz="1600" dirty="0" smtClean="0"/>
              <a:t>a vállalkozói </a:t>
            </a:r>
            <a:r>
              <a:rPr lang="hu-HU" sz="1600" dirty="0"/>
              <a:t>jövedelem </a:t>
            </a:r>
            <a:r>
              <a:rPr lang="hu-HU" sz="1600" b="1" u="sng" dirty="0" smtClean="0"/>
              <a:t>nem </a:t>
            </a:r>
            <a:r>
              <a:rPr lang="hu-HU" sz="1600" b="1" u="sng" dirty="0"/>
              <a:t>elfogadható </a:t>
            </a:r>
            <a:r>
              <a:rPr lang="hu-HU" sz="1600" b="1" u="sng" dirty="0" smtClean="0"/>
              <a:t>jövedelem</a:t>
            </a:r>
            <a:endParaRPr lang="hu-HU" b="1" u="sng" dirty="0" smtClean="0"/>
          </a:p>
          <a:p>
            <a:pPr lvl="0"/>
            <a:r>
              <a:rPr lang="hu-HU" b="1" u="sng" dirty="0" smtClean="0"/>
              <a:t>Munkaviszony</a:t>
            </a:r>
            <a:r>
              <a:rPr lang="hu-HU" b="1" u="sng" dirty="0"/>
              <a:t>, jövedelmek elfogadása, jövedelmek igazolása:</a:t>
            </a:r>
            <a:endParaRPr lang="hu-HU" dirty="0"/>
          </a:p>
          <a:p>
            <a:pPr lvl="1"/>
            <a:r>
              <a:rPr lang="hu-HU" dirty="0"/>
              <a:t>Az ügyfél rendelkezik minimum 3 hónapos munkaviszonnyal  </a:t>
            </a:r>
          </a:p>
          <a:p>
            <a:pPr lvl="1"/>
            <a:r>
              <a:rPr lang="hu-HU" dirty="0"/>
              <a:t>Nyugdíjas esetén, ha az ügyfél most ment nyugdíjba, akkor minden esetben legalább egy havi nyugdíjának meg kell lennie. </a:t>
            </a:r>
          </a:p>
          <a:p>
            <a:pPr marL="0" indent="0">
              <a:buNone/>
            </a:pPr>
            <a:endParaRPr lang="hu-HU" b="1" dirty="0"/>
          </a:p>
          <a:p>
            <a:pPr lvl="0"/>
            <a:endParaRPr lang="hu-HU" dirty="0"/>
          </a:p>
          <a:p>
            <a:pPr lvl="1"/>
            <a:endParaRPr lang="hu-HU" dirty="0">
              <a:solidFill>
                <a:srgbClr val="92D050"/>
              </a:solidFill>
            </a:endParaRPr>
          </a:p>
          <a:p>
            <a:endParaRPr lang="hu-HU" dirty="0"/>
          </a:p>
          <a:p>
            <a:endParaRPr lang="hu-HU" dirty="0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4756" y="754980"/>
            <a:ext cx="1479602" cy="50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49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563828" y="850796"/>
            <a:ext cx="7156054" cy="318349"/>
          </a:xfrm>
        </p:spPr>
        <p:txBody>
          <a:bodyPr>
            <a:noAutofit/>
          </a:bodyPr>
          <a:lstStyle/>
          <a:p>
            <a:r>
              <a:rPr lang="hu-HU" sz="1998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  <a:cs typeface="+mn-cs"/>
              </a:rPr>
              <a:t>A fiókjaink:</a:t>
            </a:r>
          </a:p>
        </p:txBody>
      </p:sp>
      <p:graphicFrame>
        <p:nvGraphicFramePr>
          <p:cNvPr id="4" name="Táblázat 3"/>
          <p:cNvGraphicFramePr>
            <a:graphicFrameLocks noGrp="1"/>
          </p:cNvGraphicFramePr>
          <p:nvPr>
            <p:extLst/>
          </p:nvPr>
        </p:nvGraphicFramePr>
        <p:xfrm>
          <a:off x="563828" y="1231846"/>
          <a:ext cx="8770478" cy="50909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84823">
                  <a:extLst>
                    <a:ext uri="{9D8B030D-6E8A-4147-A177-3AD203B41FA5}">
                      <a16:colId xmlns:a16="http://schemas.microsoft.com/office/drawing/2014/main" val="3699156198"/>
                    </a:ext>
                  </a:extLst>
                </a:gridCol>
                <a:gridCol w="1533905">
                  <a:extLst>
                    <a:ext uri="{9D8B030D-6E8A-4147-A177-3AD203B41FA5}">
                      <a16:colId xmlns:a16="http://schemas.microsoft.com/office/drawing/2014/main" val="2833560388"/>
                    </a:ext>
                  </a:extLst>
                </a:gridCol>
                <a:gridCol w="1533905">
                  <a:extLst>
                    <a:ext uri="{9D8B030D-6E8A-4147-A177-3AD203B41FA5}">
                      <a16:colId xmlns:a16="http://schemas.microsoft.com/office/drawing/2014/main" val="3694967791"/>
                    </a:ext>
                  </a:extLst>
                </a:gridCol>
                <a:gridCol w="2108896">
                  <a:extLst>
                    <a:ext uri="{9D8B030D-6E8A-4147-A177-3AD203B41FA5}">
                      <a16:colId xmlns:a16="http://schemas.microsoft.com/office/drawing/2014/main" val="3950982662"/>
                    </a:ext>
                  </a:extLst>
                </a:gridCol>
                <a:gridCol w="1908949">
                  <a:extLst>
                    <a:ext uri="{9D8B030D-6E8A-4147-A177-3AD203B41FA5}">
                      <a16:colId xmlns:a16="http://schemas.microsoft.com/office/drawing/2014/main" val="828686507"/>
                    </a:ext>
                  </a:extLst>
                </a:gridCol>
              </a:tblGrid>
              <a:tr h="174799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900" b="1" u="none" strike="noStrike" dirty="0">
                          <a:effectLst/>
                        </a:rPr>
                        <a:t>Fiók neve</a:t>
                      </a:r>
                      <a:endParaRPr lang="hu-H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900" b="1" u="none" strike="noStrike" dirty="0">
                          <a:effectLst/>
                        </a:rPr>
                        <a:t>Fiókvezető</a:t>
                      </a:r>
                      <a:endParaRPr lang="hu-H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900" b="1" u="none" strike="noStrike" dirty="0">
                          <a:effectLst/>
                        </a:rPr>
                        <a:t>Telefon</a:t>
                      </a:r>
                      <a:endParaRPr lang="hu-H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900" b="1" u="none" strike="noStrike" dirty="0" smtClean="0">
                          <a:effectLst/>
                        </a:rPr>
                        <a:t>Cím</a:t>
                      </a:r>
                      <a:endParaRPr lang="hu-H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900" b="1" u="none" strike="noStrike" dirty="0">
                          <a:effectLst/>
                        </a:rPr>
                        <a:t>E-mail</a:t>
                      </a:r>
                      <a:endParaRPr lang="hu-H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061735088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Budapest - Újpest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odnár Beáta 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326 6070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042 Budapest, Árpád út 56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03ujpest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3622474324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Nyíregyház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Irinyi </a:t>
                      </a:r>
                      <a:r>
                        <a:rPr lang="hu-HU" sz="800" u="none" strike="noStrike" dirty="0" smtClean="0">
                          <a:effectLst/>
                        </a:rPr>
                        <a:t>Istvánné (Éva)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664 2321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 smtClean="0">
                          <a:effectLst/>
                        </a:rPr>
                        <a:t>4400 Nyíregyháza, Bercsényi út 13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05nyiregyhaza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1763429449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Soroksá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err="1">
                          <a:effectLst/>
                        </a:rPr>
                        <a:t>Prazsákné</a:t>
                      </a:r>
                      <a:r>
                        <a:rPr lang="hu-HU" sz="800" u="none" strike="noStrike" dirty="0">
                          <a:effectLst/>
                        </a:rPr>
                        <a:t> Major </a:t>
                      </a:r>
                      <a:r>
                        <a:rPr lang="hu-HU" sz="800" u="none" strike="noStrike" dirty="0" smtClean="0">
                          <a:effectLst/>
                        </a:rPr>
                        <a:t>Andrea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 +36 30 664 2369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238 Budapest, </a:t>
                      </a:r>
                      <a:r>
                        <a:rPr lang="hu-HU" sz="800" u="none" strike="noStrike" dirty="0" err="1">
                          <a:effectLst/>
                        </a:rPr>
                        <a:t>Grassalkovich</a:t>
                      </a:r>
                      <a:r>
                        <a:rPr lang="hu-HU" sz="800" u="none" strike="noStrike" dirty="0">
                          <a:effectLst/>
                        </a:rPr>
                        <a:t> u. </a:t>
                      </a:r>
                      <a:r>
                        <a:rPr lang="hu-HU" sz="800" u="none" strike="noStrike" dirty="0" smtClean="0">
                          <a:effectLst/>
                        </a:rPr>
                        <a:t>167/b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07soroksar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3394049953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Miskolc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Mándoki Angelik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218 8950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3525 Miskolc, Városház tér 9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09miskolc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746302967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Újlipótváro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atona Melind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664 2319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132 Budapest, Váci út 36-38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0vaciut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3472795580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Retek u.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 smtClean="0">
                          <a:effectLst/>
                        </a:rPr>
                        <a:t>Apostol András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hu-H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36 30 864 0777</a:t>
                      </a:r>
                      <a:endParaRPr lang="hu-H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n-NO" sz="800" u="none" strike="noStrike" dirty="0">
                          <a:effectLst/>
                        </a:rPr>
                        <a:t>1024 Budapest, Retek u. 20</a:t>
                      </a:r>
                      <a:r>
                        <a:rPr lang="nn-NO" sz="800" u="none" strike="noStrike" dirty="0" smtClean="0">
                          <a:effectLst/>
                        </a:rPr>
                        <a:t>.</a:t>
                      </a:r>
                      <a:r>
                        <a:rPr lang="hu-HU" sz="800" u="none" strike="noStrike" dirty="0" smtClean="0">
                          <a:effectLst/>
                        </a:rPr>
                        <a:t> </a:t>
                      </a:r>
                      <a:endParaRPr lang="nn-NO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2buda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3389201559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ecskemét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odnár Tibo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 +36 30 201 6047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6000 Kecskemét, Petőfi Sándor u. 1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4kecskemet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676359221"/>
                  </a:ext>
                </a:extLst>
              </a:tr>
              <a:tr h="304090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Frankel Leó út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Zajtainé Rozgonyi Andre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 +36 30 664 2359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023 Budapest, Frankel Leó út 45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20obuda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688145612"/>
                  </a:ext>
                </a:extLst>
              </a:tr>
              <a:tr h="217007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Debrecen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askötő Jáno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664 2362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ES" sz="800" u="none" strike="noStrike" dirty="0">
                          <a:effectLst/>
                        </a:rPr>
                        <a:t>4025 Debrecen, </a:t>
                      </a:r>
                      <a:r>
                        <a:rPr lang="es-ES" sz="800" u="none" strike="noStrike" dirty="0" err="1">
                          <a:effectLst/>
                        </a:rPr>
                        <a:t>Hatvan</a:t>
                      </a:r>
                      <a:r>
                        <a:rPr lang="es-ES" sz="800" u="none" strike="noStrike" dirty="0">
                          <a:effectLst/>
                        </a:rPr>
                        <a:t> u. </a:t>
                      </a:r>
                      <a:r>
                        <a:rPr lang="es-ES" sz="800" u="none" strike="noStrike" dirty="0" smtClean="0">
                          <a:effectLst/>
                        </a:rPr>
                        <a:t>1/A</a:t>
                      </a:r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21debrecen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426626994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olnok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iss Gyul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218 6223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800" u="none" strike="noStrike" dirty="0">
                          <a:effectLst/>
                        </a:rPr>
                        <a:t>5000 Szolnok, Sólyom u. 3</a:t>
                      </a:r>
                      <a:r>
                        <a:rPr lang="pl-PL" sz="800" u="none" strike="noStrike" dirty="0" smtClean="0">
                          <a:effectLst/>
                        </a:rPr>
                        <a:t>. </a:t>
                      </a:r>
                      <a:endParaRPr lang="pl-PL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800" u="none" strike="noStrike" dirty="0" smtClean="0">
                          <a:effectLst/>
                        </a:rPr>
                        <a:t>035szolnok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682770047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Árkád fiók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akolci Orchide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341 3697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800" u="none" strike="noStrike" dirty="0">
                          <a:effectLst/>
                        </a:rPr>
                        <a:t>1106 Budapest, Örs vezér tér </a:t>
                      </a:r>
                      <a:r>
                        <a:rPr lang="pt-BR" sz="800" u="none" strike="noStrike" dirty="0" smtClean="0">
                          <a:effectLst/>
                        </a:rPr>
                        <a:t>25/A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pt-BR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42arkad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694672911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Belvárosi fiók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uhai Norbertné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 +36 30 864 0750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052 Budapest, Fehérhajó u. 5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46feherhajoutca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1997943498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Városligeti Fiók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Tenke Ágne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664 2365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l-PL" sz="800" u="none" strike="noStrike" dirty="0">
                          <a:effectLst/>
                        </a:rPr>
                        <a:t>1071 Budapest, Damjanich u. 51</a:t>
                      </a:r>
                      <a:r>
                        <a:rPr lang="pl-PL" sz="800" u="none" strike="noStrike" dirty="0" smtClean="0">
                          <a:effectLst/>
                        </a:rPr>
                        <a:t>. </a:t>
                      </a:r>
                      <a:endParaRPr lang="pl-PL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800" u="none" strike="noStrike" dirty="0" smtClean="0">
                          <a:effectLst/>
                        </a:rPr>
                        <a:t>048varosliget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4144417741"/>
                  </a:ext>
                </a:extLst>
              </a:tr>
              <a:tr h="174799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pest - Központi fiók 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odó Zit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326 6011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1088 Budapest, Rákóczi út 7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100kozpont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1514943335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Pécs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Sándor Eszter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864 0847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7626 Pécs, Király u. </a:t>
                      </a:r>
                      <a:r>
                        <a:rPr lang="hu-HU" sz="800" u="none" strike="noStrike" dirty="0" smtClean="0">
                          <a:effectLst/>
                        </a:rPr>
                        <a:t>66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900" u="none" strike="noStrike" dirty="0" smtClean="0">
                          <a:effectLst/>
                        </a:rPr>
                        <a:t>        </a:t>
                      </a:r>
                      <a:r>
                        <a:rPr lang="hu-HU" sz="800" u="none" strike="noStrike" dirty="0" smtClean="0">
                          <a:effectLst/>
                        </a:rPr>
                        <a:t>001pecs@sberbank.hu</a:t>
                      </a:r>
                      <a:endParaRPr lang="hu-HU" sz="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4012847086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Pilisvörösvá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Papp Ildikó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36 30 664 2335</a:t>
                      </a: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85 Pilisvörösvár, Fő út 83</a:t>
                      </a:r>
                      <a:r>
                        <a:rPr lang="hu-H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endParaRPr lang="hu-H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02pilisvorosvar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4197644558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ékesfehérvá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entesi Tíme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326 6053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8000 Székesfehérvár, Rákóczi u. 1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04szekesfehervar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1500594753"/>
                  </a:ext>
                </a:extLst>
              </a:tr>
              <a:tr h="278887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aposvá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Éhl</a:t>
                      </a:r>
                      <a:r>
                        <a:rPr lang="hu-H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Szabolcsné Takács</a:t>
                      </a:r>
                      <a:r>
                        <a:rPr lang="hu-H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géla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hu-H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36 30 488 4701</a:t>
                      </a:r>
                      <a:endParaRPr lang="hu-H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7400 Kaposvár, Fő út 30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 smtClean="0">
                          <a:effectLst/>
                        </a:rPr>
                        <a:t>011kaposvar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886941301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Nagykanizs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Győri Jáno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743 8304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8800 Nagykanizsa, Király u. 36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3nagykanizsa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607799242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opron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Hencz Márt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864 0832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9400 Sopron, Hátsókapu u. 3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5sopron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924919125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ombathely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Molnár Gyul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664 2398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9700 Szombathely, Rákóczi Ferenc u. 1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17szombathely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839201318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Budaör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Tankó Erzsébet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475 9809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2040 Budaörs, Szabadság út 86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22budaors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304098833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Győr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Urgyán István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70 337 7819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9027 Győr, Budai út 1. (Árkád</a:t>
                      </a:r>
                      <a:r>
                        <a:rPr lang="hu-HU" sz="800" u="none" strike="noStrike" dirty="0" smtClean="0">
                          <a:effectLst/>
                        </a:rPr>
                        <a:t>)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27gyor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848013725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eged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arácsonyi Zsolt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664 2309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6720 Szeged, Klauzál tér 1-3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28szeged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532658329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Zalaegerszeg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Kálmán-Nagy Balázs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664 2346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8900 Zalaegerszeg, Kossuth L. u. 61-63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34zalaegerszeg@sberbank.hu</a:t>
                      </a:r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940309530"/>
                  </a:ext>
                </a:extLst>
              </a:tr>
              <a:tr h="16647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Szekszárd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Kis Ivetta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+36 30 385 1688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 dirty="0">
                          <a:effectLst/>
                        </a:rPr>
                        <a:t>7100 Szekszárd, Arany János u. 4</a:t>
                      </a:r>
                      <a:r>
                        <a:rPr lang="hu-HU" sz="800" u="none" strike="noStrike" dirty="0" smtClean="0">
                          <a:effectLst/>
                        </a:rPr>
                        <a:t>. 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65szekszard@sberbank.hu</a:t>
                      </a:r>
                      <a:endParaRPr lang="hu-HU" sz="800" u="sng" strike="noStrike" kern="1200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693358136"/>
                  </a:ext>
                </a:extLst>
              </a:tr>
              <a:tr h="278887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>
                          <a:effectLst/>
                        </a:rPr>
                        <a:t>Paks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zilágyi Mónika</a:t>
                      </a:r>
                      <a:endParaRPr lang="hu-H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800" u="none" strike="noStrike" dirty="0">
                          <a:effectLst/>
                        </a:rPr>
                        <a:t>+36 30 </a:t>
                      </a:r>
                      <a:r>
                        <a:rPr lang="hu-HU" sz="800" u="none" strike="noStrike" smtClean="0">
                          <a:effectLst/>
                        </a:rPr>
                        <a:t>391 1060</a:t>
                      </a:r>
                      <a:endParaRPr lang="hu-HU" sz="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800" u="none" strike="noStrike">
                          <a:effectLst/>
                        </a:rPr>
                        <a:t>7030 Paks, Tolnai út 2.</a:t>
                      </a:r>
                      <a:endParaRPr lang="hu-HU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800" u="none" strike="noStrike" dirty="0" smtClean="0">
                          <a:effectLst/>
                        </a:rPr>
                        <a:t>068paks@sberbank.hu</a:t>
                      </a:r>
                      <a:endParaRPr lang="hu-H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hu-HU" sz="800" b="0" i="0" u="sng" strike="noStrike" dirty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Arial CE" panose="020B0604020202020204" pitchFamily="34" charset="0"/>
                      </a:endParaRPr>
                    </a:p>
                  </a:txBody>
                  <a:tcPr marL="5341" marR="5341" marT="5341" marB="0" anchor="ctr"/>
                </a:tc>
                <a:extLst>
                  <a:ext uri="{0D108BD9-81ED-4DB2-BD59-A6C34878D82A}">
                    <a16:rowId xmlns:a16="http://schemas.microsoft.com/office/drawing/2014/main" val="21168795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633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AutoShape 59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266" name="AutoShape 59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476661" y="2844312"/>
            <a:ext cx="5124729" cy="682660"/>
          </a:xfrm>
          <a:ln/>
        </p:spPr>
        <p:txBody>
          <a:bodyPr/>
          <a:lstStyle/>
          <a:p>
            <a:pPr defTabSz="989655" fontAlgn="auto">
              <a:spcAft>
                <a:spcPts val="0"/>
              </a:spcAft>
              <a:defRPr/>
            </a:pPr>
            <a:r>
              <a:rPr lang="hu-HU" sz="3600" kern="0" dirty="0">
                <a:solidFill>
                  <a:srgbClr val="00703C"/>
                </a:solidFill>
                <a:sym typeface="Segoe UI"/>
              </a:rPr>
              <a:t>2</a:t>
            </a: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>. Babaváró kölcsön</a:t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r>
              <a:rPr lang="hu-HU" sz="3600" kern="0" dirty="0" smtClean="0">
                <a:solidFill>
                  <a:srgbClr val="00703C"/>
                </a:solidFill>
                <a:sym typeface="Segoe UI"/>
              </a:rPr>
              <a:t/>
            </a:r>
            <a:br>
              <a:rPr lang="hu-HU" sz="3600" kern="0" dirty="0" smtClean="0">
                <a:solidFill>
                  <a:srgbClr val="00703C"/>
                </a:solidFill>
                <a:sym typeface="Segoe UI"/>
              </a:rPr>
            </a:br>
            <a:endParaRPr lang="en-GB" sz="3600" kern="0" dirty="0">
              <a:solidFill>
                <a:srgbClr val="00703C"/>
              </a:solidFill>
              <a:sym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026807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7411" y="419189"/>
            <a:ext cx="2441477" cy="2427116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94365" y="287529"/>
            <a:ext cx="6915127" cy="479994"/>
          </a:xfrm>
        </p:spPr>
        <p:txBody>
          <a:bodyPr>
            <a:noAutofit/>
          </a:bodyPr>
          <a:lstStyle/>
          <a:p>
            <a:r>
              <a:rPr lang="hu-HU" sz="2331" b="1" u="sng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  <a:cs typeface="+mn-cs"/>
              </a:rPr>
              <a:t>A Babaváró kölcsön legfőbb jellemzői: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32079" y="1346480"/>
            <a:ext cx="9752589" cy="5568028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Igénylés időpontja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2019.07.01. – 2022.12.31.</a:t>
            </a: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Kölcsön összege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min. 300.000 Ft – </a:t>
            </a:r>
            <a:r>
              <a:rPr lang="hu-HU" sz="1665" dirty="0" err="1">
                <a:solidFill>
                  <a:schemeClr val="tx1"/>
                </a:solidFill>
                <a:ea typeface="ＭＳ Ｐゴシック" panose="020B0600070205080204" pitchFamily="34" charset="-128"/>
              </a:rPr>
              <a:t>max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. 10.000.000,- Ft</a:t>
            </a: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Állampolgárság: </a:t>
            </a:r>
            <a:endParaRPr lang="hu-HU" sz="1665" b="1" dirty="0" smtClean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endParaRPr lang="hu-HU" sz="1665" b="1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pPr lvl="1">
              <a:lnSpc>
                <a:spcPct val="110000"/>
              </a:lnSpc>
            </a:pPr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magyar</a:t>
            </a:r>
          </a:p>
          <a:p>
            <a:pPr lvl="1">
              <a:lnSpc>
                <a:spcPct val="110000"/>
              </a:lnSpc>
            </a:pPr>
            <a:r>
              <a:rPr lang="hu-HU" sz="1400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szabad mozgás és tartózkodás jogával </a:t>
            </a:r>
            <a:r>
              <a:rPr lang="hu-HU" sz="1400" b="1" dirty="0" smtClean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rendelkezők, </a:t>
            </a:r>
            <a:r>
              <a:rPr lang="hu-HU" sz="1400" dirty="0">
                <a:solidFill>
                  <a:schemeClr val="tx1"/>
                </a:solidFill>
                <a:ea typeface="ＭＳ Ｐゴシック" panose="020B0600070205080204" pitchFamily="34" charset="-128"/>
              </a:rPr>
              <a:t>azaz az EU állampolgárok, és az Európai Gazdasági Térségről -EGT- szóló megállapodásban részes más állam állampolgára, illetve nemzetközi szerződés alapján azonos jogállású személyek, magyar állampolgár 3.országbeli családtagja is</a:t>
            </a:r>
          </a:p>
          <a:p>
            <a:pPr lvl="1">
              <a:lnSpc>
                <a:spcPct val="110000"/>
              </a:lnSpc>
            </a:pPr>
            <a:r>
              <a:rPr lang="hu-HU" sz="1400" b="1" dirty="0" smtClean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Hontalanok</a:t>
            </a:r>
          </a:p>
          <a:p>
            <a:pPr marL="0" lvl="1" indent="0">
              <a:lnSpc>
                <a:spcPct val="110000"/>
              </a:lnSpc>
              <a:buNone/>
            </a:pPr>
            <a:endParaRPr lang="hu-HU" sz="1400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Futamidő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5-20 év (+3 év</a:t>
            </a:r>
            <a:r>
              <a:rPr lang="hu-HU" sz="1665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)</a:t>
            </a:r>
          </a:p>
          <a:p>
            <a:pPr>
              <a:lnSpc>
                <a:spcPct val="110000"/>
              </a:lnSpc>
            </a:pPr>
            <a:endParaRPr lang="hu-HU" sz="1665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Kölcsön célja</a:t>
            </a:r>
            <a:r>
              <a:rPr lang="hu-HU" sz="1665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szabadfelhasználás ingatlan fedezet nélkül </a:t>
            </a:r>
            <a:endParaRPr lang="hu-HU" sz="1665" dirty="0" smtClean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endParaRPr lang="hu-HU" sz="1665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Kamattámogatás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teljes futamidőre, ha az első 5 évben az 1. gyermek teljesül (saját vagy örökbefogadott</a:t>
            </a:r>
            <a:r>
              <a:rPr lang="hu-HU" sz="1665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)</a:t>
            </a:r>
          </a:p>
          <a:p>
            <a:pPr>
              <a:lnSpc>
                <a:spcPct val="110000"/>
              </a:lnSpc>
            </a:pPr>
            <a:endParaRPr lang="hu-HU" sz="1665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Törlesztőrészlet:</a:t>
            </a:r>
            <a:r>
              <a:rPr lang="hu-HU" sz="1665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JTM megfelelőséggel, de </a:t>
            </a:r>
            <a:r>
              <a:rPr lang="hu-HU" sz="1665" dirty="0" err="1">
                <a:solidFill>
                  <a:schemeClr val="tx1"/>
                </a:solidFill>
                <a:ea typeface="ＭＳ Ｐゴシック" panose="020B0600070205080204" pitchFamily="34" charset="-128"/>
              </a:rPr>
              <a:t>max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 havi 50.000 Ft kezességi díjjal </a:t>
            </a:r>
            <a:r>
              <a:rPr lang="hu-HU" sz="1665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együtt</a:t>
            </a:r>
          </a:p>
          <a:p>
            <a:pPr>
              <a:lnSpc>
                <a:spcPct val="110000"/>
              </a:lnSpc>
            </a:pPr>
            <a:endParaRPr lang="hu-HU" sz="1665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>
              <a:lnSpc>
                <a:spcPct val="110000"/>
              </a:lnSpc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Kezességi díj,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ami a magyar államnak kerül megfizetésre (</a:t>
            </a:r>
            <a:r>
              <a:rPr lang="es-ES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a </a:t>
            </a:r>
            <a:r>
              <a:rPr lang="es-ES" sz="1665" dirty="0" err="1">
                <a:solidFill>
                  <a:schemeClr val="tx1"/>
                </a:solidFill>
                <a:ea typeface="ＭＳ Ｐゴシック" panose="020B0600070205080204" pitchFamily="34" charset="-128"/>
              </a:rPr>
              <a:t>fennálló</a:t>
            </a:r>
            <a:r>
              <a:rPr lang="es-ES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 </a:t>
            </a:r>
            <a:r>
              <a:rPr lang="es-ES" sz="1665" dirty="0" err="1">
                <a:solidFill>
                  <a:schemeClr val="tx1"/>
                </a:solidFill>
                <a:ea typeface="ＭＳ Ｐゴシック" panose="020B0600070205080204" pitchFamily="34" charset="-128"/>
              </a:rPr>
              <a:t>tartozás</a:t>
            </a:r>
            <a:r>
              <a:rPr lang="es-ES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 0,5%-a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)</a:t>
            </a:r>
          </a:p>
          <a:p>
            <a:pPr>
              <a:lnSpc>
                <a:spcPct val="110000"/>
              </a:lnSpc>
            </a:pP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Csak egyszer lehet leszerződni ilyen kölcsönre, ha a 10M Ft az igényléskor nem adható, később nem kérhető a fennmaradó rész (az elutasítás nem számít igénylésnek) </a:t>
            </a:r>
            <a:endParaRPr lang="hu-HU" sz="1665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endParaRPr lang="hu-HU" sz="1665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endParaRPr lang="hu-HU" sz="1665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pPr lvl="1"/>
            <a:endParaRPr lang="hu-HU" sz="2331" dirty="0">
              <a:solidFill>
                <a:srgbClr val="92D050"/>
              </a:solidFill>
            </a:endParaRPr>
          </a:p>
          <a:p>
            <a:endParaRPr lang="hu-HU" sz="2664" dirty="0"/>
          </a:p>
          <a:p>
            <a:endParaRPr lang="hu-HU" sz="2664" dirty="0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7767" y="6403283"/>
            <a:ext cx="1916901" cy="660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0751" y="250207"/>
            <a:ext cx="4509554" cy="479994"/>
          </a:xfrm>
        </p:spPr>
        <p:txBody>
          <a:bodyPr>
            <a:normAutofit/>
          </a:bodyPr>
          <a:lstStyle/>
          <a:p>
            <a:r>
              <a:rPr lang="hu-HU" sz="2331" b="1" u="sng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  <a:cs typeface="+mn-cs"/>
              </a:rPr>
              <a:t>Feltételek: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83905" y="1448283"/>
            <a:ext cx="9262195" cy="4903514"/>
          </a:xfrm>
        </p:spPr>
        <p:txBody>
          <a:bodyPr>
            <a:normAutofit/>
          </a:bodyPr>
          <a:lstStyle/>
          <a:p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Életkor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hölgyek 18-41, férfiak </a:t>
            </a:r>
            <a:r>
              <a:rPr lang="hu-HU" sz="1665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18-</a:t>
            </a:r>
          </a:p>
          <a:p>
            <a:endParaRPr lang="hu-HU" sz="1665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Csak házaspárok </a:t>
            </a:r>
            <a:r>
              <a:rPr lang="hu-HU" sz="1665" b="1" dirty="0" smtClean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igényelhetik</a:t>
            </a:r>
          </a:p>
          <a:p>
            <a:endParaRPr lang="hu-HU" sz="1665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TB biztosítottság: csak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egyikőjüknek kell a </a:t>
            </a: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3 évet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igazolni </a:t>
            </a:r>
          </a:p>
          <a:p>
            <a:pPr lvl="1">
              <a:lnSpc>
                <a:spcPct val="160000"/>
              </a:lnSpc>
            </a:pPr>
            <a:r>
              <a:rPr lang="hu-HU" sz="1498" dirty="0">
                <a:solidFill>
                  <a:schemeClr val="tx1"/>
                </a:solidFill>
                <a:ea typeface="ＭＳ Ｐゴシック" panose="020B0600070205080204" pitchFamily="34" charset="-128"/>
              </a:rPr>
              <a:t>több helyről is összejöhet, de a megszakítás 30 nap vagy 6 hónap lehet, </a:t>
            </a:r>
          </a:p>
          <a:p>
            <a:pPr lvl="1">
              <a:lnSpc>
                <a:spcPct val="160000"/>
              </a:lnSpc>
            </a:pPr>
            <a:r>
              <a:rPr lang="hu-HU" sz="1498" dirty="0">
                <a:solidFill>
                  <a:schemeClr val="tx1"/>
                </a:solidFill>
                <a:ea typeface="ＭＳ Ｐゴシック" panose="020B0600070205080204" pitchFamily="34" charset="-128"/>
              </a:rPr>
              <a:t>jelenleg nem lehet tanuló, az igénylés pillanatában legalább 180 napja biztosított </a:t>
            </a:r>
          </a:p>
          <a:p>
            <a:pPr lvl="1">
              <a:lnSpc>
                <a:spcPct val="160000"/>
              </a:lnSpc>
            </a:pPr>
            <a:r>
              <a:rPr lang="hu-HU" sz="1498" dirty="0">
                <a:solidFill>
                  <a:schemeClr val="tx1"/>
                </a:solidFill>
                <a:ea typeface="ＭＳ Ｐゴシック" panose="020B0600070205080204" pitchFamily="34" charset="-128"/>
              </a:rPr>
              <a:t>a kölcsönkérelem benyújtását megelőző 180 napban TB biztosítottság csak magyaroroszági jogviszony lehet, azaz az igazoló ügyfélnek legalább fél éve itthon kell dolgoznia </a:t>
            </a:r>
          </a:p>
          <a:p>
            <a:pPr lvl="1">
              <a:lnSpc>
                <a:spcPct val="160000"/>
              </a:lnSpc>
            </a:pPr>
            <a:r>
              <a:rPr lang="hu-HU" sz="1498" dirty="0">
                <a:solidFill>
                  <a:schemeClr val="tx1"/>
                </a:solidFill>
                <a:ea typeface="ＭＳ Ｐゴシック" panose="020B0600070205080204" pitchFamily="34" charset="-128"/>
              </a:rPr>
              <a:t>a 3 év TB biztosítottságban a jelenlegi félévet megelőzően, ha volt külföldi jogviszony akkor abban az esetben ezen időszak igazolására az alábbi lehetőségek állnak rendelkezésre az ügyfelek számára:</a:t>
            </a:r>
          </a:p>
          <a:p>
            <a:pPr lvl="2">
              <a:lnSpc>
                <a:spcPct val="160000"/>
              </a:lnSpc>
            </a:pPr>
            <a:r>
              <a:rPr lang="hu-HU" sz="1249" dirty="0">
                <a:solidFill>
                  <a:schemeClr val="tx1"/>
                </a:solidFill>
                <a:ea typeface="ＭＳ Ｐゴシック" panose="020B0600070205080204" pitchFamily="34" charset="-128"/>
              </a:rPr>
              <a:t>osztrák TB jogviszony igazolható az osztrák szervek által kiállított igazolással OFFI fordítással</a:t>
            </a:r>
          </a:p>
          <a:p>
            <a:pPr lvl="2">
              <a:lnSpc>
                <a:spcPct val="160000"/>
              </a:lnSpc>
            </a:pPr>
            <a:r>
              <a:rPr lang="hu-HU" sz="1249" dirty="0">
                <a:solidFill>
                  <a:schemeClr val="tx1"/>
                </a:solidFill>
                <a:ea typeface="ＭＳ Ｐゴシック" panose="020B0600070205080204" pitchFamily="34" charset="-128"/>
              </a:rPr>
              <a:t>egyéb országok TB jogviszonya csak úgy fogadható el, ha azt a magyar OEP-en keresztül kerül </a:t>
            </a:r>
            <a:r>
              <a:rPr lang="hu-HU" sz="1249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leigazolásra</a:t>
            </a:r>
          </a:p>
          <a:p>
            <a:pPr marL="495300" lvl="2" indent="0">
              <a:buNone/>
            </a:pPr>
            <a:endParaRPr lang="hu-HU" sz="1249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 marL="0" lvl="1" indent="0">
              <a:buNone/>
            </a:pPr>
            <a:r>
              <a:rPr lang="hu-HU" sz="1665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Lakcím: </a:t>
            </a:r>
            <a:r>
              <a:rPr lang="hu-HU" sz="1665" dirty="0">
                <a:solidFill>
                  <a:schemeClr val="tx1"/>
                </a:solidFill>
                <a:ea typeface="ＭＳ Ｐゴシック" panose="020B0600070205080204" pitchFamily="34" charset="-128"/>
              </a:rPr>
              <a:t>magyarországi állandó lakcím mindkét félnek</a:t>
            </a:r>
          </a:p>
          <a:p>
            <a:endParaRPr lang="hu-HU" sz="1665" dirty="0">
              <a:solidFill>
                <a:schemeClr val="accent2">
                  <a:lumMod val="75000"/>
                </a:schemeClr>
              </a:solidFill>
              <a:ea typeface="ＭＳ Ｐゴシック" panose="020B0600070205080204" pitchFamily="34" charset="-128"/>
            </a:endParaRPr>
          </a:p>
          <a:p>
            <a:pPr lvl="1"/>
            <a:endParaRPr lang="hu-HU" sz="2331" dirty="0">
              <a:solidFill>
                <a:srgbClr val="92D050"/>
              </a:solidFill>
            </a:endParaRPr>
          </a:p>
          <a:p>
            <a:endParaRPr lang="hu-HU" sz="2664" dirty="0"/>
          </a:p>
          <a:p>
            <a:endParaRPr lang="hu-HU" sz="2664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1666" y="730201"/>
            <a:ext cx="2537222" cy="1970095"/>
          </a:xfrm>
          <a:prstGeom prst="rect">
            <a:avLst/>
          </a:prstGeom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6299" y="5928968"/>
            <a:ext cx="1479602" cy="50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87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19229" y="330277"/>
            <a:ext cx="7156054" cy="566201"/>
          </a:xfrm>
        </p:spPr>
        <p:txBody>
          <a:bodyPr>
            <a:normAutofit/>
          </a:bodyPr>
          <a:lstStyle/>
          <a:p>
            <a:r>
              <a:rPr lang="hu-HU" sz="2331" b="1" u="sng" dirty="0" err="1">
                <a:solidFill>
                  <a:schemeClr val="accent2">
                    <a:lumMod val="75000"/>
                  </a:schemeClr>
                </a:solidFill>
              </a:rPr>
              <a:t>Sberbank</a:t>
            </a:r>
            <a:r>
              <a:rPr lang="hu-HU" sz="2331" b="1" u="sng" dirty="0">
                <a:solidFill>
                  <a:schemeClr val="accent2">
                    <a:lumMod val="75000"/>
                  </a:schemeClr>
                </a:solidFill>
              </a:rPr>
              <a:t> specifikumok: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10532" y="1011232"/>
            <a:ext cx="9947868" cy="5459905"/>
          </a:xfrm>
        </p:spPr>
        <p:txBody>
          <a:bodyPr>
            <a:normAutofit fontScale="92500"/>
          </a:bodyPr>
          <a:lstStyle/>
          <a:p>
            <a:pPr marL="285430" lvl="1" indent="-285430"/>
            <a:r>
              <a:rPr lang="hu-HU" sz="1600" dirty="0">
                <a:solidFill>
                  <a:schemeClr val="tx1"/>
                </a:solidFill>
              </a:rPr>
              <a:t>A 3 év TB biztosítottságban a jelenlegi félévet megelőzően, ha volt külföldi jogviszony akkor abban az esetben ezen időszak igazolására az alábbi lehetőségek állnak rendelkezésre az ügyfelek számára:</a:t>
            </a:r>
          </a:p>
          <a:p>
            <a:pPr lvl="2">
              <a:lnSpc>
                <a:spcPct val="150000"/>
              </a:lnSpc>
            </a:pPr>
            <a:r>
              <a:rPr lang="hu-HU" sz="1600" dirty="0">
                <a:solidFill>
                  <a:schemeClr val="tx1"/>
                </a:solidFill>
                <a:ea typeface="ＭＳ Ｐゴシック" panose="020B0600070205080204" pitchFamily="34" charset="-128"/>
              </a:rPr>
              <a:t>osztrák TB jogviszony igazolható az osztrák szervek által kiállított igazolással OFFI fordítással</a:t>
            </a:r>
          </a:p>
          <a:p>
            <a:pPr lvl="2">
              <a:lnSpc>
                <a:spcPct val="150000"/>
              </a:lnSpc>
            </a:pPr>
            <a:r>
              <a:rPr lang="hu-HU" sz="1600" dirty="0">
                <a:solidFill>
                  <a:schemeClr val="tx1"/>
                </a:solidFill>
                <a:ea typeface="ＭＳ Ｐゴシック" panose="020B0600070205080204" pitchFamily="34" charset="-128"/>
              </a:rPr>
              <a:t>egyéb országok TB jogviszonya csak úgy fogadható el, ha azt a magyar OEP-en keresztül kerül </a:t>
            </a:r>
            <a:r>
              <a:rPr lang="hu-HU" sz="1600" dirty="0" smtClean="0">
                <a:solidFill>
                  <a:schemeClr val="tx1"/>
                </a:solidFill>
                <a:ea typeface="ＭＳ Ｐゴシック" panose="020B0600070205080204" pitchFamily="34" charset="-128"/>
              </a:rPr>
              <a:t>leigazolásra</a:t>
            </a:r>
          </a:p>
          <a:p>
            <a:pPr marL="495300" lvl="2" indent="0">
              <a:buNone/>
            </a:pPr>
            <a:endParaRPr lang="hu-HU" sz="1600" dirty="0">
              <a:solidFill>
                <a:schemeClr val="tx1"/>
              </a:solidFill>
              <a:ea typeface="ＭＳ Ｐゴシック" panose="020B0600070205080204" pitchFamily="34" charset="-128"/>
            </a:endParaRPr>
          </a:p>
          <a:p>
            <a:pPr marL="285430" lvl="1" indent="-285430"/>
            <a:r>
              <a:rPr lang="hu-HU" sz="1600" dirty="0">
                <a:solidFill>
                  <a:schemeClr val="tx1"/>
                </a:solidFill>
              </a:rPr>
              <a:t>Folyamat: kétszeres ügyfélmegjelenés: 1. Igénylés – 2. pozitív döntést követően </a:t>
            </a:r>
            <a:r>
              <a:rPr lang="hu-HU" sz="1600" dirty="0" smtClean="0">
                <a:solidFill>
                  <a:schemeClr val="tx1"/>
                </a:solidFill>
              </a:rPr>
              <a:t>szerződés</a:t>
            </a:r>
          </a:p>
          <a:p>
            <a:pPr marL="0" lvl="1" indent="0">
              <a:buNone/>
            </a:pPr>
            <a:endParaRPr lang="hu-HU" sz="1600" dirty="0">
              <a:solidFill>
                <a:schemeClr val="tx1"/>
              </a:solidFill>
            </a:endParaRPr>
          </a:p>
          <a:p>
            <a:pPr marL="285430" lvl="1" indent="-285430"/>
            <a:r>
              <a:rPr lang="hu-HU" sz="1600" dirty="0">
                <a:solidFill>
                  <a:schemeClr val="tx1"/>
                </a:solidFill>
              </a:rPr>
              <a:t>A szerződéskötés utáni </a:t>
            </a:r>
            <a:r>
              <a:rPr lang="hu-HU" sz="1600" dirty="0" smtClean="0">
                <a:solidFill>
                  <a:schemeClr val="tx1"/>
                </a:solidFill>
              </a:rPr>
              <a:t>3. </a:t>
            </a:r>
            <a:r>
              <a:rPr lang="hu-HU" sz="1600" dirty="0">
                <a:solidFill>
                  <a:schemeClr val="tx1"/>
                </a:solidFill>
              </a:rPr>
              <a:t>napon folyósítunk </a:t>
            </a:r>
            <a:r>
              <a:rPr lang="hu-HU" sz="1600" dirty="0" smtClean="0">
                <a:solidFill>
                  <a:schemeClr val="tx1"/>
                </a:solidFill>
              </a:rPr>
              <a:t/>
            </a:r>
            <a:br>
              <a:rPr lang="hu-HU" sz="1600" dirty="0" smtClean="0">
                <a:solidFill>
                  <a:schemeClr val="tx1"/>
                </a:solidFill>
              </a:rPr>
            </a:br>
            <a:r>
              <a:rPr lang="hu-HU" sz="1600" dirty="0" smtClean="0">
                <a:solidFill>
                  <a:schemeClr val="tx1"/>
                </a:solidFill>
              </a:rPr>
              <a:t>(Kivétel: 29,30,31-e, mert minden ügyfél esetében a folyósítás napja lesz a törlesztési napja is és februárban nincs 29,30,31-e, emiatt nem lehet folyósítás ezeken a napokon.)</a:t>
            </a:r>
          </a:p>
          <a:p>
            <a:pPr marL="0" lvl="1" indent="0">
              <a:buNone/>
            </a:pPr>
            <a:endParaRPr lang="hu-HU" sz="1600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r>
              <a:rPr lang="hu-HU" sz="1600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Jövedelem igazolása: </a:t>
            </a:r>
            <a:r>
              <a:rPr lang="hu-HU" sz="1600" dirty="0">
                <a:solidFill>
                  <a:schemeClr val="tx1"/>
                </a:solidFill>
              </a:rPr>
              <a:t>az egyik félnek legalább 100.000 HUF jövedelemmel kell, hogy </a:t>
            </a:r>
            <a:r>
              <a:rPr lang="hu-HU" sz="1600" dirty="0" smtClean="0">
                <a:solidFill>
                  <a:schemeClr val="tx1"/>
                </a:solidFill>
              </a:rPr>
              <a:t>rendelkezzen</a:t>
            </a:r>
          </a:p>
          <a:p>
            <a:pPr marL="0" lvl="1" indent="0">
              <a:buNone/>
            </a:pPr>
            <a:r>
              <a:rPr lang="hu-HU" sz="1600" dirty="0" smtClean="0"/>
              <a:t>(</a:t>
            </a:r>
            <a:r>
              <a:rPr lang="hu-HU" sz="1600" b="1" dirty="0" smtClean="0"/>
              <a:t>Táppénz </a:t>
            </a:r>
            <a:r>
              <a:rPr lang="hu-HU" sz="1600" b="1" dirty="0"/>
              <a:t>elfogadható önállóan</a:t>
            </a:r>
            <a:r>
              <a:rPr lang="hu-HU" sz="1600" dirty="0"/>
              <a:t>, amennyiben a várandós nő kapja, </a:t>
            </a:r>
            <a:r>
              <a:rPr lang="hu-HU" sz="1600" dirty="0" smtClean="0"/>
              <a:t>feltétel </a:t>
            </a:r>
            <a:r>
              <a:rPr lang="hu-HU" sz="1600" dirty="0"/>
              <a:t>a várandósgondozási könyv megléte. Egyéb táppénz nem fogadható </a:t>
            </a:r>
            <a:r>
              <a:rPr lang="hu-HU" sz="1600" dirty="0" smtClean="0"/>
              <a:t>el)</a:t>
            </a:r>
            <a:endParaRPr lang="hu-HU" sz="1600" dirty="0" smtClean="0">
              <a:solidFill>
                <a:schemeClr val="tx1"/>
              </a:solidFill>
            </a:endParaRPr>
          </a:p>
          <a:p>
            <a:pPr marL="0" lvl="1" indent="0">
              <a:buNone/>
            </a:pPr>
            <a:endParaRPr lang="hu-HU" sz="1600" dirty="0">
              <a:solidFill>
                <a:schemeClr val="tx1"/>
              </a:solidFill>
            </a:endParaRPr>
          </a:p>
          <a:p>
            <a:pPr marL="0" lvl="1" indent="0">
              <a:buNone/>
            </a:pPr>
            <a:r>
              <a:rPr lang="hu-HU" sz="1600" b="1" dirty="0">
                <a:solidFill>
                  <a:schemeClr val="accent2">
                    <a:lumMod val="75000"/>
                  </a:schemeClr>
                </a:solidFill>
                <a:ea typeface="ＭＳ Ｐゴシック" panose="020B0600070205080204" pitchFamily="34" charset="-128"/>
              </a:rPr>
              <a:t>Moratórium kéréshez szükséges:</a:t>
            </a:r>
          </a:p>
          <a:p>
            <a:pPr marL="618432" lvl="2" indent="-285430">
              <a:lnSpc>
                <a:spcPct val="150000"/>
              </a:lnSpc>
            </a:pPr>
            <a:r>
              <a:rPr lang="hu-HU" sz="1600" dirty="0" smtClean="0">
                <a:solidFill>
                  <a:schemeClr val="tx1"/>
                </a:solidFill>
              </a:rPr>
              <a:t>Terhes kiskönyv benyújtása, a szülés várható időpontjával és orvosi pecséttel</a:t>
            </a:r>
          </a:p>
          <a:p>
            <a:pPr marL="618432" lvl="2" indent="-285430">
              <a:lnSpc>
                <a:spcPct val="150000"/>
              </a:lnSpc>
            </a:pPr>
            <a:r>
              <a:rPr lang="hu-HU" sz="1600" dirty="0" smtClean="0">
                <a:solidFill>
                  <a:schemeClr val="tx1"/>
                </a:solidFill>
              </a:rPr>
              <a:t>A </a:t>
            </a:r>
            <a:r>
              <a:rPr lang="hu-HU" sz="1600" dirty="0">
                <a:solidFill>
                  <a:schemeClr val="tx1"/>
                </a:solidFill>
              </a:rPr>
              <a:t>férj és feleség lakcímének valamilyen egyezőséget kell mutatnia, </a:t>
            </a:r>
            <a:r>
              <a:rPr lang="hu-HU" sz="1600" dirty="0" smtClean="0">
                <a:solidFill>
                  <a:schemeClr val="tx1"/>
                </a:solidFill>
              </a:rPr>
              <a:t>nem </a:t>
            </a:r>
            <a:r>
              <a:rPr lang="hu-HU" sz="1600" dirty="0">
                <a:solidFill>
                  <a:schemeClr val="tx1"/>
                </a:solidFill>
              </a:rPr>
              <a:t>kell hogy ugyanaz legyen az állandó lakcímük, de legalább az ideiglenes lakcím - állandó lakcím kombinációkban ugyanazon lakcímeknek kell lenniük a jogszabály 2§ 2) pontja </a:t>
            </a:r>
            <a:r>
              <a:rPr lang="hu-HU" sz="1600" dirty="0" smtClean="0">
                <a:solidFill>
                  <a:schemeClr val="tx1"/>
                </a:solidFill>
              </a:rPr>
              <a:t>alapján</a:t>
            </a:r>
          </a:p>
          <a:p>
            <a:pPr marL="333002" lvl="2" indent="0">
              <a:buNone/>
            </a:pPr>
            <a:endParaRPr lang="hu-HU" dirty="0">
              <a:solidFill>
                <a:schemeClr val="tx1"/>
              </a:solidFill>
            </a:endParaRPr>
          </a:p>
          <a:p>
            <a:pPr marL="618432" lvl="2" indent="-285430"/>
            <a:endParaRPr lang="hu-HU" sz="1332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hu-HU" dirty="0"/>
          </a:p>
          <a:p>
            <a:endParaRPr lang="hu-HU" dirty="0" smtClean="0"/>
          </a:p>
          <a:p>
            <a:endParaRPr lang="hu-HU" dirty="0"/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69286" y="6659168"/>
            <a:ext cx="1479602" cy="509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66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4965" y="4227558"/>
            <a:ext cx="3084310" cy="2941592"/>
          </a:xfrm>
          <a:prstGeom prst="rect">
            <a:avLst/>
          </a:prstGeom>
        </p:spPr>
      </p:pic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31475" y="1038104"/>
            <a:ext cx="8453282" cy="3815082"/>
          </a:xfrm>
        </p:spPr>
        <p:txBody>
          <a:bodyPr>
            <a:normAutofit/>
          </a:bodyPr>
          <a:lstStyle/>
          <a:p>
            <a:pPr marL="0" lvl="1" indent="0">
              <a:lnSpc>
                <a:spcPct val="110000"/>
              </a:lnSpc>
              <a:spcBef>
                <a:spcPct val="0"/>
              </a:spcBef>
              <a:buNone/>
            </a:pPr>
            <a:r>
              <a:rPr lang="hu-HU" sz="1748" b="1" u="sng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Készpénzben </a:t>
            </a:r>
            <a:r>
              <a:rPr lang="hu-HU" sz="1748" b="1" u="sng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kapott alkalmazotti jövedelem</a:t>
            </a:r>
            <a:r>
              <a:rPr lang="hu-HU" sz="1748" b="1" u="sng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:</a:t>
            </a:r>
          </a:p>
          <a:p>
            <a:pPr marL="0" lvl="1" indent="0">
              <a:lnSpc>
                <a:spcPct val="110000"/>
              </a:lnSpc>
              <a:spcBef>
                <a:spcPct val="0"/>
              </a:spcBef>
              <a:buNone/>
            </a:pPr>
            <a:endParaRPr lang="hu-HU" sz="1748" b="1" u="sng" dirty="0">
              <a:solidFill>
                <a:schemeClr val="accent2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lvl="0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NAV jövedelemigazolás és adóbevallás </a:t>
            </a:r>
            <a:r>
              <a:rPr lang="hu-HU" sz="1600" dirty="0" smtClean="0"/>
              <a:t>szükséges az igazolásához</a:t>
            </a:r>
            <a:endParaRPr lang="hu-HU" sz="1600" dirty="0"/>
          </a:p>
          <a:p>
            <a:pPr marL="342900" lvl="0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Előző évre vonatkozó </a:t>
            </a:r>
            <a:r>
              <a:rPr lang="hu-HU" sz="1600" dirty="0" smtClean="0"/>
              <a:t>adóbevallásban szereplő </a:t>
            </a:r>
            <a:r>
              <a:rPr lang="hu-HU" sz="1600" dirty="0"/>
              <a:t>összevontan adózó jövedelem </a:t>
            </a:r>
            <a:r>
              <a:rPr lang="hu-HU" sz="1600" dirty="0" smtClean="0"/>
              <a:t>a jövedelem számítás alapja</a:t>
            </a:r>
          </a:p>
          <a:p>
            <a:pPr marL="0" indent="0">
              <a:buNone/>
            </a:pPr>
            <a:endParaRPr lang="hu-HU" dirty="0"/>
          </a:p>
          <a:p>
            <a:pPr marL="0" indent="0">
              <a:buNone/>
            </a:pPr>
            <a:r>
              <a:rPr lang="hu-HU" sz="1748" b="1" u="sng" dirty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gatlan bérbeadásból származó jövedelem</a:t>
            </a:r>
            <a:r>
              <a:rPr lang="hu-HU" sz="1748" b="1" u="sng" dirty="0" smtClean="0">
                <a:solidFill>
                  <a:schemeClr val="accent2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:</a:t>
            </a:r>
            <a:endParaRPr lang="hu-HU" b="1" i="1" dirty="0"/>
          </a:p>
          <a:p>
            <a:pPr marL="0" indent="0">
              <a:buNone/>
            </a:pPr>
            <a:endParaRPr lang="hu-HU" dirty="0"/>
          </a:p>
          <a:p>
            <a:pPr marL="342900" lvl="0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NAV jövedelemigazolás és adóbevallás </a:t>
            </a:r>
          </a:p>
          <a:p>
            <a:pPr marL="342900" lvl="0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ktuális bérleti szerződés 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hu-HU" sz="1600" dirty="0"/>
              <a:t>A jövedelemigazoláson, ill. adóbevalláson </a:t>
            </a:r>
            <a:r>
              <a:rPr lang="hu-HU" sz="1600" dirty="0" smtClean="0"/>
              <a:t>megjelenő </a:t>
            </a:r>
            <a:r>
              <a:rPr lang="hu-HU" sz="1600" dirty="0"/>
              <a:t>jövedelemmel számolunk, </a:t>
            </a:r>
            <a:r>
              <a:rPr lang="hu-HU" sz="1600" b="1" u="sng" dirty="0"/>
              <a:t>NEM</a:t>
            </a:r>
            <a:r>
              <a:rPr lang="hu-HU" sz="1600" dirty="0"/>
              <a:t> az aktuális bérleti szerződésen szereplővel.</a:t>
            </a:r>
          </a:p>
          <a:p>
            <a:pPr marL="0" indent="0">
              <a:buNone/>
            </a:pPr>
            <a:endParaRPr lang="hu-HU" dirty="0"/>
          </a:p>
        </p:txBody>
      </p:sp>
      <p:sp>
        <p:nvSpPr>
          <p:cNvPr id="2" name="Téglalap 1"/>
          <p:cNvSpPr/>
          <p:nvPr/>
        </p:nvSpPr>
        <p:spPr>
          <a:xfrm>
            <a:off x="265897" y="188656"/>
            <a:ext cx="66775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000" b="1" dirty="0">
                <a:solidFill>
                  <a:srgbClr val="FF0000"/>
                </a:solidFill>
              </a:rPr>
              <a:t>Csak</a:t>
            </a:r>
            <a:r>
              <a:rPr lang="hu-HU" sz="2000" b="1" dirty="0">
                <a:solidFill>
                  <a:schemeClr val="accent2">
                    <a:lumMod val="75000"/>
                  </a:schemeClr>
                </a:solidFill>
              </a:rPr>
              <a:t> Babaváró kölcsönnél elfogadható jövedelmek:</a:t>
            </a:r>
          </a:p>
        </p:txBody>
      </p:sp>
    </p:spTree>
    <p:extLst>
      <p:ext uri="{BB962C8B-B14F-4D97-AF65-F5344CB8AC3E}">
        <p14:creationId xmlns:p14="http://schemas.microsoft.com/office/powerpoint/2010/main" val="148411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-%m-%d&lt;/m_strFormatTime&gt;&lt;/m_precDefaultDate&gt;&lt;m_precDefaultYear/&gt;&lt;m_precDefaultQuarter/&gt;&lt;m_precDefaultMonth/&gt;&lt;m_precDefaultWeek/&gt;&lt;m_precDefaultDay/&gt;&lt;m_mruColor&gt;&lt;m_vecMRU length=&quot;7&quot;&gt;&lt;elem m_fUsage=&quot;1.39715838900000010000E+000&quot;&gt;&lt;m_ppcolschidx val=&quot;0&quot;/&gt;&lt;m_rgb r=&quot;ff&quot; g=&quot;a3&quot; b=&quot;4f&quot;/&gt;&lt;m_nBrightness val=&quot;0&quot;/&gt;&lt;/elem&gt;&lt;elem m_fUsage=&quot;1.28089392540390020000E+000&quot;&gt;&lt;m_ppcolschidx val=&quot;0&quot;/&gt;&lt;m_rgb r=&quot;14&quot; g=&quot;64&quot; b=&quot;9&quot;/&gt;&lt;m_nBrightness val=&quot;0&quot;/&gt;&lt;/elem&gt;&lt;elem m_fUsage=&quot;1.24659000000000010000E+000&quot;&gt;&lt;m_ppcolschidx val=&quot;0&quot;/&gt;&lt;m_rgb r=&quot;cc&quot; g=&quot;0&quot; b=&quot;66&quot;/&gt;&lt;m_nBrightness val=&quot;0&quot;/&gt;&lt;/elem&gt;&lt;elem m_fUsage=&quot;1.15867844010000030000E+000&quot;&gt;&lt;m_ppcolschidx val=&quot;0&quot;/&gt;&lt;m_rgb r=&quot;ff&quot; g=&quot;c2&quot; b=&quot;8b&quot;/&gt;&lt;m_nBrightness val=&quot;0&quot;/&gt;&lt;/elem&gt;&lt;elem m_fUsage=&quot;1.12876792454961030000E+000&quot;&gt;&lt;m_ppcolschidx val=&quot;0&quot;/&gt;&lt;m_rgb r=&quot;1&quot; g=&quot;66&quot; b=&quot;32&quot;/&gt;&lt;m_nBrightness val=&quot;0&quot;/&gt;&lt;/elem&gt;&lt;elem m_fUsage=&quot;1.00000000000000000000E+000&quot;&gt;&lt;m_ppcolschidx val=&quot;0&quot;/&gt;&lt;m_rgb r=&quot;ce&quot; g=&quot;af&quot; b=&quot;77&quot;/&gt;&lt;m_nBrightness val=&quot;0&quot;/&gt;&lt;/elem&gt;&lt;elem m_fUsage=&quot;7.29000000000000090000E-001&quot;&gt;&lt;m_ppcolschidx val=&quot;0&quot;/&gt;&lt;m_rgb r=&quot;ea&quot; g=&quot;a4&quot; b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yw pakietu Office">
  <a:themeElements>
    <a:clrScheme name="GREEN_improve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6F546"/>
      </a:accent1>
      <a:accent2>
        <a:srgbClr val="4DAD00"/>
      </a:accent2>
      <a:accent3>
        <a:srgbClr val="377A00"/>
      </a:accent3>
      <a:accent4>
        <a:srgbClr val="EDEEA0"/>
      </a:accent4>
      <a:accent5>
        <a:srgbClr val="EEECE1"/>
      </a:accent5>
      <a:accent6>
        <a:srgbClr val="CC0066"/>
      </a:accent6>
      <a:hlink>
        <a:srgbClr val="FFDE8D"/>
      </a:hlink>
      <a:folHlink>
        <a:srgbClr val="4DAD00"/>
      </a:folHlink>
    </a:clrScheme>
    <a:fontScheme name="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Áramlás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azetta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СБ">
  <a:themeElements>
    <a:clrScheme name="Sberbank Europe">
      <a:dk1>
        <a:srgbClr val="000000"/>
      </a:dk1>
      <a:lt1>
        <a:srgbClr val="FFFFFF"/>
      </a:lt1>
      <a:dk2>
        <a:srgbClr val="00703C"/>
      </a:dk2>
      <a:lt2>
        <a:srgbClr val="999999"/>
      </a:lt2>
      <a:accent1>
        <a:srgbClr val="439639"/>
      </a:accent1>
      <a:accent2>
        <a:srgbClr val="7DC244"/>
      </a:accent2>
      <a:accent3>
        <a:srgbClr val="EB7F2E"/>
      </a:accent3>
      <a:accent4>
        <a:srgbClr val="B3D88C"/>
      </a:accent4>
      <a:accent5>
        <a:srgbClr val="F7C134"/>
      </a:accent5>
      <a:accent6>
        <a:srgbClr val="009BC6"/>
      </a:accent6>
      <a:hlink>
        <a:srgbClr val="8CD0F3"/>
      </a:hlink>
      <a:folHlink>
        <a:srgbClr val="DCF1F7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-СБ-16-9" id="{139DC356-87A8-4CA5-A90F-96BAD60E2965}" vid="{EC5EEF1F-BBA1-457F-AE32-39796BF3B0BA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425</TotalTime>
  <Words>3462</Words>
  <Application>Microsoft Office PowerPoint</Application>
  <PresentationFormat>Egyéni</PresentationFormat>
  <Paragraphs>687</Paragraphs>
  <Slides>40</Slides>
  <Notes>26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1</vt:i4>
      </vt:variant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40</vt:i4>
      </vt:variant>
    </vt:vector>
  </HeadingPairs>
  <TitlesOfParts>
    <vt:vector size="55" baseType="lpstr">
      <vt:lpstr>ＭＳ Ｐゴシック</vt:lpstr>
      <vt:lpstr>Arial</vt:lpstr>
      <vt:lpstr>Arial CE</vt:lpstr>
      <vt:lpstr>Calibri</vt:lpstr>
      <vt:lpstr>Calibri Light</vt:lpstr>
      <vt:lpstr>Gill Sans</vt:lpstr>
      <vt:lpstr>Segoe UI</vt:lpstr>
      <vt:lpstr>Times New Roman</vt:lpstr>
      <vt:lpstr>Trebuchet MS</vt:lpstr>
      <vt:lpstr>Wingdings</vt:lpstr>
      <vt:lpstr>Wingdings 3</vt:lpstr>
      <vt:lpstr>Motyw pakietu Office</vt:lpstr>
      <vt:lpstr>Fazetta</vt:lpstr>
      <vt:lpstr>СБ</vt:lpstr>
      <vt:lpstr>think-cell Slide</vt:lpstr>
      <vt:lpstr>PowerPoint-bemutató</vt:lpstr>
      <vt:lpstr>Brókeri oktatási anyag  1. Személyi kölcsön „A koronavírus világjárvány nemzetgazdaságot érintő hatásának enyhítése érdekében szükséges azonnali intézkedésekről szóló 47/2020. (III. 18.) Korm. rendelet hatálya alá tartozó időszak alatt (várhatóan 2020. december 31-ig)”    </vt:lpstr>
      <vt:lpstr>A legfontosabb jellemzők</vt:lpstr>
      <vt:lpstr>A kölcsön árazása és folyósítási díj</vt:lpstr>
      <vt:lpstr>2. Babaváró kölcsön   </vt:lpstr>
      <vt:lpstr>A Babaváró kölcsön legfőbb jellemzői:</vt:lpstr>
      <vt:lpstr>Feltételek:</vt:lpstr>
      <vt:lpstr>Sberbank specifikumok:</vt:lpstr>
      <vt:lpstr>PowerPoint-bemutató</vt:lpstr>
      <vt:lpstr>3. Mikrovállalati finanszírozás</vt:lpstr>
      <vt:lpstr>PowerPoint-bemutató</vt:lpstr>
      <vt:lpstr>3.1 Turbó vállalkozói kölcsön </vt:lpstr>
      <vt:lpstr>Termékjellemzők</vt:lpstr>
      <vt:lpstr>Termék előnyök</vt:lpstr>
      <vt:lpstr>3.2 NHP Hajrá </vt:lpstr>
      <vt:lpstr>NHP Hajrá program részletei I.</vt:lpstr>
      <vt:lpstr>NHP Hajrá részletei II.</vt:lpstr>
      <vt:lpstr>NHP Hajrá részletei III.</vt:lpstr>
      <vt:lpstr>NHP Hajrá részletei IV.</vt:lpstr>
      <vt:lpstr>NHP Hajrá hitelcélok I.</vt:lpstr>
      <vt:lpstr>NHP Hajrá hitelcélok II.</vt:lpstr>
      <vt:lpstr>NHP Hajrá hitelcélok II.</vt:lpstr>
      <vt:lpstr>NHP Hajrá hitelcélok III.</vt:lpstr>
      <vt:lpstr>GHG Krízis Garanciaprogram</vt:lpstr>
      <vt:lpstr>Alapdokumentumok listája</vt:lpstr>
      <vt:lpstr>Kezes ingó és ingatlanfedezet kapcsán bevonandó dokumentumok</vt:lpstr>
      <vt:lpstr>3.3 Széchenyi Plusz hitelkonstrukció</vt:lpstr>
      <vt:lpstr>SZKP Plusz termékei</vt:lpstr>
      <vt:lpstr>Termékfeltétel módosulások az SZKP+ programban</vt:lpstr>
      <vt:lpstr>Folyamat típusok</vt:lpstr>
      <vt:lpstr>Széchenyi Kártya Plusz</vt:lpstr>
      <vt:lpstr>Széchenyi Munkahelymegtartó hitel</vt:lpstr>
      <vt:lpstr>Széchenyi Likviditási hitel</vt:lpstr>
      <vt:lpstr>Széchenyi Beruházási Plusz</vt:lpstr>
      <vt:lpstr>Széchenyi Beruházási Plusz</vt:lpstr>
      <vt:lpstr>Agrár Széchenyi Kártya Plusz</vt:lpstr>
      <vt:lpstr>Keret jellegű hitelek</vt:lpstr>
      <vt:lpstr>Forgóeszköz hitelek</vt:lpstr>
      <vt:lpstr>Beruházási hitelek</vt:lpstr>
      <vt:lpstr>A fiókjaink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kju</dc:creator>
  <cp:lastModifiedBy>HORVÁTH-LAKLIA ÁGNES</cp:lastModifiedBy>
  <cp:revision>1773</cp:revision>
  <cp:lastPrinted>2014-02-25T16:23:18Z</cp:lastPrinted>
  <dcterms:created xsi:type="dcterms:W3CDTF">2014-01-25T17:03:47Z</dcterms:created>
  <dcterms:modified xsi:type="dcterms:W3CDTF">2020-06-25T11:18:53Z</dcterms:modified>
</cp:coreProperties>
</file>